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0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2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7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9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1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9"/>
  </p:notesMasterIdLst>
  <p:sldIdLst>
    <p:sldId id="1188" r:id="rId2"/>
    <p:sldId id="1179" r:id="rId3"/>
    <p:sldId id="1243" r:id="rId4"/>
    <p:sldId id="1181" r:id="rId5"/>
    <p:sldId id="1192" r:id="rId6"/>
    <p:sldId id="1209" r:id="rId7"/>
    <p:sldId id="1180" r:id="rId8"/>
    <p:sldId id="1231" r:id="rId9"/>
    <p:sldId id="1236" r:id="rId10"/>
    <p:sldId id="1239" r:id="rId11"/>
    <p:sldId id="1240" r:id="rId12"/>
    <p:sldId id="1241" r:id="rId13"/>
    <p:sldId id="1242" r:id="rId14"/>
    <p:sldId id="1184" r:id="rId15"/>
    <p:sldId id="1207" r:id="rId16"/>
    <p:sldId id="1208" r:id="rId17"/>
    <p:sldId id="1193" r:id="rId18"/>
    <p:sldId id="1201" r:id="rId19"/>
    <p:sldId id="1185" r:id="rId20"/>
    <p:sldId id="1253" r:id="rId21"/>
    <p:sldId id="1254" r:id="rId22"/>
    <p:sldId id="1257" r:id="rId23"/>
    <p:sldId id="1255" r:id="rId24"/>
    <p:sldId id="1258" r:id="rId25"/>
    <p:sldId id="1262" r:id="rId26"/>
    <p:sldId id="1263" r:id="rId27"/>
    <p:sldId id="1264" r:id="rId28"/>
  </p:sldIdLst>
  <p:sldSz cx="12192000" cy="6858000"/>
  <p:notesSz cx="6858000" cy="9144000"/>
  <p:custDataLst>
    <p:tags r:id="rId3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ájek Ondřej RNDr. Ph.D." initials="MORP" lastIdx="1" clrIdx="0">
    <p:extLst>
      <p:ext uri="{19B8F6BF-5375-455C-9EA6-DF929625EA0E}">
        <p15:presenceInfo xmlns:p15="http://schemas.microsoft.com/office/powerpoint/2012/main" userId="S::majeko@mzcr.cz::9d61c4b0-e3bf-4878-8005-e21f10a403b2" providerId="AD"/>
      </p:ext>
    </p:extLst>
  </p:cmAuthor>
  <p:cmAuthor id="2" name="Kouřil Jan Mgr." initials="KJM" lastIdx="1" clrIdx="1">
    <p:extLst>
      <p:ext uri="{19B8F6BF-5375-455C-9EA6-DF929625EA0E}">
        <p15:presenceInfo xmlns:p15="http://schemas.microsoft.com/office/powerpoint/2012/main" userId="S::kourilj@mzcr.cz::dbc45f57-da0e-49ed-8558-d54a6c5b7b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AED"/>
    <a:srgbClr val="F797B0"/>
    <a:srgbClr val="CDD1D9"/>
    <a:srgbClr val="FF7C80"/>
    <a:srgbClr val="00CD61"/>
    <a:srgbClr val="00FF00"/>
    <a:srgbClr val="D31145"/>
    <a:srgbClr val="996633"/>
    <a:srgbClr val="F75A1C"/>
    <a:srgbClr val="9E0D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67" autoAdjust="0"/>
    <p:restoredTop sz="96327" autoAdjust="0"/>
  </p:normalViewPr>
  <p:slideViewPr>
    <p:cSldViewPr snapToGrid="0">
      <p:cViewPr varScale="1">
        <p:scale>
          <a:sx n="66" d="100"/>
          <a:sy n="66" d="100"/>
        </p:scale>
        <p:origin x="810" y="5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0230244309003E-2"/>
          <c:y val="8.1965526849870296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7.02.2022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ED-4368-B9BE-D456B2020E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ED-4368-B9BE-D456B2020E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9-4FAE-ACD8-8FC9D76B16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61-42EC-8144-BD0DFC6360C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61-42EC-8144-BD0DFC6360C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4-4F68-8DDF-88A5914185C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561-42EC-8144-BD0DFC6360C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154-4F68-8DDF-88A5914185CF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561-42EC-8144-BD0DFC6360C1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154-4F68-8DDF-88A5914185CF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154-4F68-8DDF-88A5914185CF}"/>
              </c:ext>
            </c:extLst>
          </c:dPt>
          <c:cat>
            <c:strRef>
              <c:f>List1!$A$2:$A$32</c:f>
              <c:strCache>
                <c:ptCount val="31"/>
                <c:pt idx="0">
                  <c:v>Island</c:v>
                </c:pt>
                <c:pt idx="1">
                  <c:v>Rakousko</c:v>
                </c:pt>
                <c:pt idx="2">
                  <c:v>Lichtenštejnsko</c:v>
                </c:pt>
                <c:pt idx="3">
                  <c:v>Lotyšsko</c:v>
                </c:pt>
                <c:pt idx="4">
                  <c:v>Nizozemsko</c:v>
                </c:pt>
                <c:pt idx="5">
                  <c:v>Kypr</c:v>
                </c:pt>
                <c:pt idx="6">
                  <c:v>Dánsko</c:v>
                </c:pt>
                <c:pt idx="7">
                  <c:v>Německo</c:v>
                </c:pt>
                <c:pt idx="8">
                  <c:v>Estonsko</c:v>
                </c:pt>
                <c:pt idx="9">
                  <c:v>Slovensko</c:v>
                </c:pt>
                <c:pt idx="10">
                  <c:v>Litva</c:v>
                </c:pt>
                <c:pt idx="11">
                  <c:v>Řecko</c:v>
                </c:pt>
                <c:pt idx="12">
                  <c:v>Norsko</c:v>
                </c:pt>
                <c:pt idx="13">
                  <c:v>Lucembursko</c:v>
                </c:pt>
                <c:pt idx="14">
                  <c:v>Portugalsko</c:v>
                </c:pt>
                <c:pt idx="15">
                  <c:v>Finsko</c:v>
                </c:pt>
                <c:pt idx="16">
                  <c:v>Velká Británie</c:v>
                </c:pt>
                <c:pt idx="17">
                  <c:v>Slovinsko</c:v>
                </c:pt>
                <c:pt idx="18">
                  <c:v>Francie</c:v>
                </c:pt>
                <c:pt idx="19">
                  <c:v>Irsko</c:v>
                </c:pt>
                <c:pt idx="20">
                  <c:v>Česká republika</c:v>
                </c:pt>
                <c:pt idx="21">
                  <c:v>Itálie</c:v>
                </c:pt>
                <c:pt idx="22">
                  <c:v>Belgie</c:v>
                </c:pt>
                <c:pt idx="23">
                  <c:v>Chorvatsko</c:v>
                </c:pt>
                <c:pt idx="24">
                  <c:v>Španělsko</c:v>
                </c:pt>
                <c:pt idx="25">
                  <c:v>Polsko</c:v>
                </c:pt>
                <c:pt idx="26">
                  <c:v>Bulharsko</c:v>
                </c:pt>
                <c:pt idx="27">
                  <c:v>Maďarsko</c:v>
                </c:pt>
                <c:pt idx="28">
                  <c:v>Malta</c:v>
                </c:pt>
                <c:pt idx="29">
                  <c:v>Rumunsko</c:v>
                </c:pt>
                <c:pt idx="30">
                  <c:v>Švéd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8427.6667380689523</c:v>
                </c:pt>
                <c:pt idx="1">
                  <c:v>4291.0600350699651</c:v>
                </c:pt>
                <c:pt idx="2">
                  <c:v>3383.4877538906239</c:v>
                </c:pt>
                <c:pt idx="3">
                  <c:v>6860.8122452723865</c:v>
                </c:pt>
                <c:pt idx="4">
                  <c:v>3437.9668403170231</c:v>
                </c:pt>
                <c:pt idx="5">
                  <c:v>3258.6528229007718</c:v>
                </c:pt>
                <c:pt idx="6">
                  <c:v>6337.0946061174045</c:v>
                </c:pt>
                <c:pt idx="7">
                  <c:v>2740.8117654189787</c:v>
                </c:pt>
                <c:pt idx="8">
                  <c:v>5338.7721072464819</c:v>
                </c:pt>
                <c:pt idx="9">
                  <c:v>4014.7874455854876</c:v>
                </c:pt>
                <c:pt idx="10">
                  <c:v>3446.9541067037921</c:v>
                </c:pt>
                <c:pt idx="11">
                  <c:v>2133.9143812627904</c:v>
                </c:pt>
                <c:pt idx="12">
                  <c:v>3376.940818767489</c:v>
                </c:pt>
                <c:pt idx="13">
                  <c:v>1367.1762699087058</c:v>
                </c:pt>
                <c:pt idx="14">
                  <c:v>1639.4084291149038</c:v>
                </c:pt>
                <c:pt idx="15">
                  <c:v>1303.0804525806057</c:v>
                </c:pt>
                <c:pt idx="16">
                  <c:v>791.46794638713868</c:v>
                </c:pt>
                <c:pt idx="17">
                  <c:v>1949.8907608853831</c:v>
                </c:pt>
                <c:pt idx="18">
                  <c:v>1501.2741492095035</c:v>
                </c:pt>
                <c:pt idx="19">
                  <c:v>1102.2995544311141</c:v>
                </c:pt>
                <c:pt idx="20">
                  <c:v>1622.3488837929599</c:v>
                </c:pt>
                <c:pt idx="21">
                  <c:v>1035.6314383034844</c:v>
                </c:pt>
                <c:pt idx="22">
                  <c:v>935.65251804305342</c:v>
                </c:pt>
                <c:pt idx="23">
                  <c:v>903.88143409644499</c:v>
                </c:pt>
                <c:pt idx="24">
                  <c:v>574.44323696130539</c:v>
                </c:pt>
                <c:pt idx="25">
                  <c:v>664.20539384729568</c:v>
                </c:pt>
                <c:pt idx="26">
                  <c:v>755.39287881346741</c:v>
                </c:pt>
                <c:pt idx="27">
                  <c:v>721.34512974324446</c:v>
                </c:pt>
                <c:pt idx="28">
                  <c:v>225.82224951609521</c:v>
                </c:pt>
                <c:pt idx="29">
                  <c:v>772.15195243500921</c:v>
                </c:pt>
                <c:pt idx="30">
                  <c:v>385.346473412139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13.03.202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Island</c:v>
                </c:pt>
                <c:pt idx="1">
                  <c:v>Rakousko</c:v>
                </c:pt>
                <c:pt idx="2">
                  <c:v>Lichtenštejnsko</c:v>
                </c:pt>
                <c:pt idx="3">
                  <c:v>Lotyšsko</c:v>
                </c:pt>
                <c:pt idx="4">
                  <c:v>Nizozemsko</c:v>
                </c:pt>
                <c:pt idx="5">
                  <c:v>Kypr</c:v>
                </c:pt>
                <c:pt idx="6">
                  <c:v>Dánsko</c:v>
                </c:pt>
                <c:pt idx="7">
                  <c:v>Německo</c:v>
                </c:pt>
                <c:pt idx="8">
                  <c:v>Estonsko</c:v>
                </c:pt>
                <c:pt idx="9">
                  <c:v>Slovensko</c:v>
                </c:pt>
                <c:pt idx="10">
                  <c:v>Litva</c:v>
                </c:pt>
                <c:pt idx="11">
                  <c:v>Řecko</c:v>
                </c:pt>
                <c:pt idx="12">
                  <c:v>Norsko</c:v>
                </c:pt>
                <c:pt idx="13">
                  <c:v>Lucembursko</c:v>
                </c:pt>
                <c:pt idx="14">
                  <c:v>Portugalsko</c:v>
                </c:pt>
                <c:pt idx="15">
                  <c:v>Finsko</c:v>
                </c:pt>
                <c:pt idx="16">
                  <c:v>Velká Británie</c:v>
                </c:pt>
                <c:pt idx="17">
                  <c:v>Slovinsko</c:v>
                </c:pt>
                <c:pt idx="18">
                  <c:v>Francie</c:v>
                </c:pt>
                <c:pt idx="19">
                  <c:v>Irsko</c:v>
                </c:pt>
                <c:pt idx="20">
                  <c:v>Česká republika</c:v>
                </c:pt>
                <c:pt idx="21">
                  <c:v>Itálie</c:v>
                </c:pt>
                <c:pt idx="22">
                  <c:v>Belgie</c:v>
                </c:pt>
                <c:pt idx="23">
                  <c:v>Chorvatsko</c:v>
                </c:pt>
                <c:pt idx="24">
                  <c:v>Španělsko</c:v>
                </c:pt>
                <c:pt idx="25">
                  <c:v>Polsko</c:v>
                </c:pt>
                <c:pt idx="26">
                  <c:v>Bulharsko</c:v>
                </c:pt>
                <c:pt idx="27">
                  <c:v>Maďarsko</c:v>
                </c:pt>
                <c:pt idx="28">
                  <c:v>Malta</c:v>
                </c:pt>
                <c:pt idx="29">
                  <c:v>Rumunsko</c:v>
                </c:pt>
                <c:pt idx="30">
                  <c:v>Švéd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10033.394299900587</c:v>
                </c:pt>
                <c:pt idx="1">
                  <c:v>5811.3726628636759</c:v>
                </c:pt>
                <c:pt idx="2">
                  <c:v>5755.284280073296</c:v>
                </c:pt>
                <c:pt idx="3">
                  <c:v>4866.2376977210479</c:v>
                </c:pt>
                <c:pt idx="4">
                  <c:v>4799.5112475395063</c:v>
                </c:pt>
                <c:pt idx="5">
                  <c:v>3539.9575452840918</c:v>
                </c:pt>
                <c:pt idx="6">
                  <c:v>3094.3385468376437</c:v>
                </c:pt>
                <c:pt idx="7">
                  <c:v>2967.9338888368447</c:v>
                </c:pt>
                <c:pt idx="8">
                  <c:v>2833.3092546441771</c:v>
                </c:pt>
                <c:pt idx="9">
                  <c:v>2668.1822754028908</c:v>
                </c:pt>
                <c:pt idx="10">
                  <c:v>2367.1392116932525</c:v>
                </c:pt>
                <c:pt idx="11">
                  <c:v>2175.1978926283509</c:v>
                </c:pt>
                <c:pt idx="12">
                  <c:v>1847.8532224950536</c:v>
                </c:pt>
                <c:pt idx="13">
                  <c:v>1744.7469126732128</c:v>
                </c:pt>
                <c:pt idx="14">
                  <c:v>1507.0646020667043</c:v>
                </c:pt>
                <c:pt idx="15">
                  <c:v>1454.0588986066257</c:v>
                </c:pt>
                <c:pt idx="16">
                  <c:v>1293.9461838176194</c:v>
                </c:pt>
                <c:pt idx="17">
                  <c:v>1237.2957939481673</c:v>
                </c:pt>
                <c:pt idx="18">
                  <c:v>1192.8526789040604</c:v>
                </c:pt>
                <c:pt idx="19">
                  <c:v>1079.9405370998543</c:v>
                </c:pt>
                <c:pt idx="20">
                  <c:v>1008.6554636228989</c:v>
                </c:pt>
                <c:pt idx="21">
                  <c:v>857.21704327698865</c:v>
                </c:pt>
                <c:pt idx="22">
                  <c:v>706.3087332197</c:v>
                </c:pt>
                <c:pt idx="23">
                  <c:v>463.01715184079501</c:v>
                </c:pt>
                <c:pt idx="24">
                  <c:v>426.8895861107523</c:v>
                </c:pt>
                <c:pt idx="25">
                  <c:v>413.41595839079361</c:v>
                </c:pt>
                <c:pt idx="26">
                  <c:v>350.71658101107073</c:v>
                </c:pt>
                <c:pt idx="27">
                  <c:v>316.12587959743394</c:v>
                </c:pt>
                <c:pt idx="28">
                  <c:v>315.995677894295</c:v>
                </c:pt>
                <c:pt idx="29">
                  <c:v>296.29820478603006</c:v>
                </c:pt>
                <c:pt idx="30">
                  <c:v>219.26705255214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138-4612-AF06-5399DE4C0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2064"/>
        <c:axId val="354362456"/>
      </c:barChart>
      <c:catAx>
        <c:axId val="35436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456"/>
        <c:crosses val="autoZero"/>
        <c:auto val="1"/>
        <c:lblAlgn val="ctr"/>
        <c:lblOffset val="100"/>
        <c:noMultiLvlLbl val="0"/>
      </c:catAx>
      <c:valAx>
        <c:axId val="35436245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F9A-47BA-ACF0-8C39462714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C7-4F71-B6A6-584BFB277F2C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DBA-4548-9ED7-7A1AACB2C2AF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DBA-4548-9ED7-7A1AACB2C2AF}"/>
              </c:ext>
            </c:extLst>
          </c:dPt>
          <c:cat>
            <c:strRef>
              <c:f>List1!$A$2:$A$31</c:f>
              <c:strCache>
                <c:ptCount val="30"/>
                <c:pt idx="0">
                  <c:v>Bulharsko</c:v>
                </c:pt>
                <c:pt idx="1">
                  <c:v>Maďarsko</c:v>
                </c:pt>
                <c:pt idx="2">
                  <c:v>Rumunsko</c:v>
                </c:pt>
                <c:pt idx="3">
                  <c:v>Polsko</c:v>
                </c:pt>
                <c:pt idx="4">
                  <c:v>Chorvatsko</c:v>
                </c:pt>
                <c:pt idx="5">
                  <c:v>Itálie</c:v>
                </c:pt>
                <c:pt idx="6">
                  <c:v>Česká republika</c:v>
                </c:pt>
                <c:pt idx="7">
                  <c:v>Řecko</c:v>
                </c:pt>
                <c:pt idx="8">
                  <c:v>Slovensko</c:v>
                </c:pt>
                <c:pt idx="9">
                  <c:v>Španělsko</c:v>
                </c:pt>
                <c:pt idx="10">
                  <c:v>Malta</c:v>
                </c:pt>
                <c:pt idx="11">
                  <c:v>Belgie</c:v>
                </c:pt>
                <c:pt idx="12">
                  <c:v>Lotyšsko</c:v>
                </c:pt>
                <c:pt idx="13">
                  <c:v>Německo</c:v>
                </c:pt>
                <c:pt idx="14">
                  <c:v>Švédsko</c:v>
                </c:pt>
                <c:pt idx="15">
                  <c:v>Slovinsko</c:v>
                </c:pt>
                <c:pt idx="16">
                  <c:v>Litva</c:v>
                </c:pt>
                <c:pt idx="17">
                  <c:v>Francie</c:v>
                </c:pt>
                <c:pt idx="18">
                  <c:v>Portugalsko</c:v>
                </c:pt>
                <c:pt idx="19">
                  <c:v>Lichtenštejnsko</c:v>
                </c:pt>
                <c:pt idx="20">
                  <c:v>Lucembursko</c:v>
                </c:pt>
                <c:pt idx="21">
                  <c:v>Irsko</c:v>
                </c:pt>
                <c:pt idx="22">
                  <c:v>Rakousko</c:v>
                </c:pt>
                <c:pt idx="23">
                  <c:v>Estonsko</c:v>
                </c:pt>
                <c:pt idx="24">
                  <c:v>Finsko</c:v>
                </c:pt>
                <c:pt idx="25">
                  <c:v>Nizozemsko</c:v>
                </c:pt>
                <c:pt idx="26">
                  <c:v>Kypr</c:v>
                </c:pt>
                <c:pt idx="27">
                  <c:v>Dánsko</c:v>
                </c:pt>
                <c:pt idx="28">
                  <c:v>Norsko</c:v>
                </c:pt>
                <c:pt idx="29">
                  <c:v>Island</c:v>
                </c:pt>
              </c:strCache>
            </c:strRef>
          </c:cat>
          <c:val>
            <c:numRef>
              <c:f>List1!$B$2:$B$31</c:f>
              <c:numCache>
                <c:formatCode>0.00%</c:formatCode>
                <c:ptCount val="30"/>
                <c:pt idx="0">
                  <c:v>3.2444505186229516E-2</c:v>
                </c:pt>
                <c:pt idx="1">
                  <c:v>2.3960838247157425E-2</c:v>
                </c:pt>
                <c:pt idx="2">
                  <c:v>2.2296842239489703E-2</c:v>
                </c:pt>
                <c:pt idx="3">
                  <c:v>1.9521955059899267E-2</c:v>
                </c:pt>
                <c:pt idx="4">
                  <c:v>1.4287590869581014E-2</c:v>
                </c:pt>
                <c:pt idx="5">
                  <c:v>1.1863684848352842E-2</c:v>
                </c:pt>
                <c:pt idx="6">
                  <c:v>1.0632474919566133E-2</c:v>
                </c:pt>
                <c:pt idx="7">
                  <c:v>1.0063494643879921E-2</c:v>
                </c:pt>
                <c:pt idx="8">
                  <c:v>9.2384224772037657E-3</c:v>
                </c:pt>
                <c:pt idx="9">
                  <c:v>8.9900613027085879E-3</c:v>
                </c:pt>
                <c:pt idx="10">
                  <c:v>8.438934550152561E-3</c:v>
                </c:pt>
                <c:pt idx="11">
                  <c:v>8.2413877566747118E-3</c:v>
                </c:pt>
                <c:pt idx="12">
                  <c:v>7.9627229791441583E-3</c:v>
                </c:pt>
                <c:pt idx="13">
                  <c:v>7.2757275033784128E-3</c:v>
                </c:pt>
                <c:pt idx="14">
                  <c:v>7.1857582280879934E-3</c:v>
                </c:pt>
                <c:pt idx="15">
                  <c:v>6.976779623014448E-3</c:v>
                </c:pt>
                <c:pt idx="16">
                  <c:v>6.9464734808706539E-3</c:v>
                </c:pt>
                <c:pt idx="17">
                  <c:v>6.5468730428680502E-3</c:v>
                </c:pt>
                <c:pt idx="18">
                  <c:v>6.2490600222259024E-3</c:v>
                </c:pt>
                <c:pt idx="19">
                  <c:v>5.5244705715702244E-3</c:v>
                </c:pt>
                <c:pt idx="20">
                  <c:v>5.0852171149338527E-3</c:v>
                </c:pt>
                <c:pt idx="21">
                  <c:v>4.8813047725441931E-3</c:v>
                </c:pt>
                <c:pt idx="22">
                  <c:v>4.5275432824345846E-3</c:v>
                </c:pt>
                <c:pt idx="23">
                  <c:v>4.3361209317438094E-3</c:v>
                </c:pt>
                <c:pt idx="24">
                  <c:v>4.2213547547030519E-3</c:v>
                </c:pt>
                <c:pt idx="25">
                  <c:v>3.0282611667740863E-3</c:v>
                </c:pt>
                <c:pt idx="26">
                  <c:v>2.8279096205769505E-3</c:v>
                </c:pt>
                <c:pt idx="27">
                  <c:v>1.7487742562338714E-3</c:v>
                </c:pt>
                <c:pt idx="28">
                  <c:v>1.3761211929736871E-3</c:v>
                </c:pt>
                <c:pt idx="29">
                  <c:v>4.7806559563199014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590432"/>
        <c:axId val="401589256"/>
      </c:barChart>
      <c:catAx>
        <c:axId val="4015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89256"/>
        <c:crosses val="autoZero"/>
        <c:auto val="1"/>
        <c:lblAlgn val="ctr"/>
        <c:lblOffset val="100"/>
        <c:noMultiLvlLbl val="0"/>
      </c:catAx>
      <c:valAx>
        <c:axId val="401589256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9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Portugalsko</c:v>
                </c:pt>
                <c:pt idx="1">
                  <c:v>Irsko</c:v>
                </c:pt>
                <c:pt idx="2">
                  <c:v>Malta</c:v>
                </c:pt>
                <c:pt idx="3">
                  <c:v>Francie</c:v>
                </c:pt>
                <c:pt idx="4">
                  <c:v>Norsko</c:v>
                </c:pt>
                <c:pt idx="5">
                  <c:v>Španělsko</c:v>
                </c:pt>
                <c:pt idx="6">
                  <c:v>Island</c:v>
                </c:pt>
                <c:pt idx="7">
                  <c:v>Dánsko</c:v>
                </c:pt>
                <c:pt idx="8">
                  <c:v>Itálie</c:v>
                </c:pt>
                <c:pt idx="9">
                  <c:v>Německo</c:v>
                </c:pt>
                <c:pt idx="10">
                  <c:v>Finsko</c:v>
                </c:pt>
                <c:pt idx="11">
                  <c:v>Belgie</c:v>
                </c:pt>
                <c:pt idx="12">
                  <c:v>Nizozemsko</c:v>
                </c:pt>
                <c:pt idx="13">
                  <c:v>Švédsko</c:v>
                </c:pt>
                <c:pt idx="14">
                  <c:v>Kypr</c:v>
                </c:pt>
                <c:pt idx="15">
                  <c:v>Rakousko</c:v>
                </c:pt>
                <c:pt idx="16">
                  <c:v>Lucembursko</c:v>
                </c:pt>
                <c:pt idx="17">
                  <c:v>Řecko</c:v>
                </c:pt>
                <c:pt idx="18">
                  <c:v>Lichtenštejnsko</c:v>
                </c:pt>
                <c:pt idx="19">
                  <c:v>Litva</c:v>
                </c:pt>
                <c:pt idx="20">
                  <c:v>Lotyš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Chorvatsko</c:v>
                </c:pt>
                <c:pt idx="26">
                  <c:v>Pol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1</c:v>
                </c:pt>
                <c:pt idx="1">
                  <c:v>0.95399999999999996</c:v>
                </c:pt>
                <c:pt idx="2">
                  <c:v>0.94899999999999995</c:v>
                </c:pt>
                <c:pt idx="3">
                  <c:v>0.94799999999999995</c:v>
                </c:pt>
                <c:pt idx="4">
                  <c:v>0.93899999999999995</c:v>
                </c:pt>
                <c:pt idx="5">
                  <c:v>0.93300000000000005</c:v>
                </c:pt>
                <c:pt idx="6">
                  <c:v>0.93200000000000005</c:v>
                </c:pt>
                <c:pt idx="7">
                  <c:v>0.92200000000000004</c:v>
                </c:pt>
                <c:pt idx="8">
                  <c:v>0.91700000000000004</c:v>
                </c:pt>
                <c:pt idx="9">
                  <c:v>0.91500000000000004</c:v>
                </c:pt>
                <c:pt idx="10">
                  <c:v>0.90300000000000002</c:v>
                </c:pt>
                <c:pt idx="11">
                  <c:v>0.89800000000000002</c:v>
                </c:pt>
                <c:pt idx="12">
                  <c:v>0.89400000000000002</c:v>
                </c:pt>
                <c:pt idx="13">
                  <c:v>0.89100000000000001</c:v>
                </c:pt>
                <c:pt idx="14">
                  <c:v>0.86499999999999999</c:v>
                </c:pt>
                <c:pt idx="15">
                  <c:v>0.85599999999999998</c:v>
                </c:pt>
                <c:pt idx="16">
                  <c:v>0.84</c:v>
                </c:pt>
                <c:pt idx="17">
                  <c:v>0.83399999999999996</c:v>
                </c:pt>
                <c:pt idx="18">
                  <c:v>0.82599999999999996</c:v>
                </c:pt>
                <c:pt idx="19">
                  <c:v>0.80900000000000005</c:v>
                </c:pt>
                <c:pt idx="20">
                  <c:v>0.78600000000000003</c:v>
                </c:pt>
                <c:pt idx="21">
                  <c:v>0.751</c:v>
                </c:pt>
                <c:pt idx="22">
                  <c:v>0.73399999999999999</c:v>
                </c:pt>
                <c:pt idx="23">
                  <c:v>0.73299999999999998</c:v>
                </c:pt>
                <c:pt idx="24">
                  <c:v>0.69399999999999995</c:v>
                </c:pt>
                <c:pt idx="25">
                  <c:v>0.67600000000000005</c:v>
                </c:pt>
                <c:pt idx="26">
                  <c:v>0.66800000000000004</c:v>
                </c:pt>
                <c:pt idx="27">
                  <c:v>0.60899999999999999</c:v>
                </c:pt>
                <c:pt idx="28">
                  <c:v>0.503</c:v>
                </c:pt>
                <c:pt idx="29">
                  <c:v>0.355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rsko</c:v>
                </c:pt>
                <c:pt idx="1">
                  <c:v>Francie</c:v>
                </c:pt>
                <c:pt idx="2">
                  <c:v>Portugalsko</c:v>
                </c:pt>
                <c:pt idx="3">
                  <c:v>Malta</c:v>
                </c:pt>
                <c:pt idx="4">
                  <c:v>Island</c:v>
                </c:pt>
                <c:pt idx="5">
                  <c:v>Dánsko</c:v>
                </c:pt>
                <c:pt idx="6">
                  <c:v>Norsko</c:v>
                </c:pt>
                <c:pt idx="7">
                  <c:v>Německo</c:v>
                </c:pt>
                <c:pt idx="8">
                  <c:v>Belgie</c:v>
                </c:pt>
                <c:pt idx="9">
                  <c:v>Finsko</c:v>
                </c:pt>
                <c:pt idx="10">
                  <c:v>Švédsko</c:v>
                </c:pt>
                <c:pt idx="11">
                  <c:v>Kypr</c:v>
                </c:pt>
                <c:pt idx="12">
                  <c:v>Itálie</c:v>
                </c:pt>
                <c:pt idx="13">
                  <c:v>Španělsko</c:v>
                </c:pt>
                <c:pt idx="14">
                  <c:v>Rakousko</c:v>
                </c:pt>
                <c:pt idx="15">
                  <c:v>Lucembursko</c:v>
                </c:pt>
                <c:pt idx="16">
                  <c:v>Nizozemsko</c:v>
                </c:pt>
                <c:pt idx="17">
                  <c:v>Lichtenštejnsko</c:v>
                </c:pt>
                <c:pt idx="18">
                  <c:v>Řecko</c:v>
                </c:pt>
                <c:pt idx="19">
                  <c:v>Litva</c:v>
                </c:pt>
                <c:pt idx="20">
                  <c:v>Lotyš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4599999999999995</c:v>
                </c:pt>
                <c:pt idx="1">
                  <c:v>0.94499999999999995</c:v>
                </c:pt>
                <c:pt idx="2">
                  <c:v>0.94299999999999995</c:v>
                </c:pt>
                <c:pt idx="3">
                  <c:v>0.94</c:v>
                </c:pt>
                <c:pt idx="4">
                  <c:v>0.92300000000000004</c:v>
                </c:pt>
                <c:pt idx="5">
                  <c:v>0.92300000000000004</c:v>
                </c:pt>
                <c:pt idx="6">
                  <c:v>0.91700000000000004</c:v>
                </c:pt>
                <c:pt idx="7">
                  <c:v>0.90600000000000003</c:v>
                </c:pt>
                <c:pt idx="8">
                  <c:v>0.89</c:v>
                </c:pt>
                <c:pt idx="9">
                  <c:v>0.878</c:v>
                </c:pt>
                <c:pt idx="10">
                  <c:v>0.871</c:v>
                </c:pt>
                <c:pt idx="11">
                  <c:v>0.86699999999999999</c:v>
                </c:pt>
                <c:pt idx="12">
                  <c:v>0.86599999999999999</c:v>
                </c:pt>
                <c:pt idx="13">
                  <c:v>0.85899999999999999</c:v>
                </c:pt>
                <c:pt idx="14">
                  <c:v>0.83099999999999996</c:v>
                </c:pt>
                <c:pt idx="15">
                  <c:v>0.83099999999999996</c:v>
                </c:pt>
                <c:pt idx="16">
                  <c:v>0.82699999999999996</c:v>
                </c:pt>
                <c:pt idx="17">
                  <c:v>0.81899999999999995</c:v>
                </c:pt>
                <c:pt idx="18">
                  <c:v>0.81399999999999995</c:v>
                </c:pt>
                <c:pt idx="19">
                  <c:v>0.79</c:v>
                </c:pt>
                <c:pt idx="20">
                  <c:v>0.77</c:v>
                </c:pt>
                <c:pt idx="21">
                  <c:v>0.74199999999999999</c:v>
                </c:pt>
                <c:pt idx="22">
                  <c:v>0.73099999999999998</c:v>
                </c:pt>
                <c:pt idx="23">
                  <c:v>0.70899999999999996</c:v>
                </c:pt>
                <c:pt idx="24">
                  <c:v>0.67700000000000005</c:v>
                </c:pt>
                <c:pt idx="25">
                  <c:v>0.66100000000000003</c:v>
                </c:pt>
                <c:pt idx="26">
                  <c:v>0.65500000000000003</c:v>
                </c:pt>
                <c:pt idx="27">
                  <c:v>0.59899999999999998</c:v>
                </c:pt>
                <c:pt idx="28">
                  <c:v>0.5</c:v>
                </c:pt>
                <c:pt idx="29">
                  <c:v>0.350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93128"/>
        <c:axId val="359286856"/>
      </c:barChart>
      <c:catAx>
        <c:axId val="359293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856"/>
        <c:crosses val="autoZero"/>
        <c:auto val="1"/>
        <c:lblAlgn val="ctr"/>
        <c:lblOffset val="100"/>
        <c:noMultiLvlLbl val="0"/>
      </c:catAx>
      <c:valAx>
        <c:axId val="359286856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Francie</c:v>
                </c:pt>
                <c:pt idx="1">
                  <c:v>Island</c:v>
                </c:pt>
                <c:pt idx="2">
                  <c:v>Malta</c:v>
                </c:pt>
                <c:pt idx="3">
                  <c:v>Dánsko</c:v>
                </c:pt>
                <c:pt idx="4">
                  <c:v>Belgie</c:v>
                </c:pt>
                <c:pt idx="5">
                  <c:v>Irsko</c:v>
                </c:pt>
                <c:pt idx="6">
                  <c:v>Itálie</c:v>
                </c:pt>
                <c:pt idx="7">
                  <c:v>Portugalsko</c:v>
                </c:pt>
                <c:pt idx="8">
                  <c:v>Německo</c:v>
                </c:pt>
                <c:pt idx="9">
                  <c:v>Norsko</c:v>
                </c:pt>
                <c:pt idx="10">
                  <c:v>Rakousko</c:v>
                </c:pt>
                <c:pt idx="11">
                  <c:v>Lucembursko</c:v>
                </c:pt>
                <c:pt idx="12">
                  <c:v>Nizozemsko</c:v>
                </c:pt>
                <c:pt idx="13">
                  <c:v>Finsko</c:v>
                </c:pt>
                <c:pt idx="14">
                  <c:v>Španělsko</c:v>
                </c:pt>
                <c:pt idx="15">
                  <c:v>Švédsko</c:v>
                </c:pt>
                <c:pt idx="16">
                  <c:v>Řecko</c:v>
                </c:pt>
                <c:pt idx="17">
                  <c:v>Kypr</c:v>
                </c:pt>
                <c:pt idx="18">
                  <c:v>Lichtenštejnsko</c:v>
                </c:pt>
                <c:pt idx="19">
                  <c:v>Maďarsko</c:v>
                </c:pt>
                <c:pt idx="20">
                  <c:v>Česká republika</c:v>
                </c:pt>
                <c:pt idx="21">
                  <c:v>Estonsko</c:v>
                </c:pt>
                <c:pt idx="22">
                  <c:v>Litva</c:v>
                </c:pt>
                <c:pt idx="23">
                  <c:v>Polsko</c:v>
                </c:pt>
                <c:pt idx="24">
                  <c:v>Slovensko</c:v>
                </c:pt>
                <c:pt idx="25">
                  <c:v>Slovinsko</c:v>
                </c:pt>
                <c:pt idx="26">
                  <c:v>Lotyšsko</c:v>
                </c:pt>
                <c:pt idx="27">
                  <c:v>Chorvatsko</c:v>
                </c:pt>
                <c:pt idx="28">
                  <c:v>Bulharsko</c:v>
                </c:pt>
                <c:pt idx="29">
                  <c:v>Rumun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879</c:v>
                </c:pt>
                <c:pt idx="1">
                  <c:v>0.85899999999999999</c:v>
                </c:pt>
                <c:pt idx="2">
                  <c:v>0.78600000000000003</c:v>
                </c:pt>
                <c:pt idx="3">
                  <c:v>0.77100000000000002</c:v>
                </c:pt>
                <c:pt idx="4">
                  <c:v>0.748</c:v>
                </c:pt>
                <c:pt idx="5">
                  <c:v>0.74299999999999999</c:v>
                </c:pt>
                <c:pt idx="6">
                  <c:v>0.73199999999999998</c:v>
                </c:pt>
                <c:pt idx="7">
                  <c:v>0.72699999999999998</c:v>
                </c:pt>
                <c:pt idx="8">
                  <c:v>0.69199999999999995</c:v>
                </c:pt>
                <c:pt idx="9">
                  <c:v>0.68200000000000005</c:v>
                </c:pt>
                <c:pt idx="10">
                  <c:v>0.67</c:v>
                </c:pt>
                <c:pt idx="11">
                  <c:v>0.66700000000000004</c:v>
                </c:pt>
                <c:pt idx="12">
                  <c:v>0.64300000000000002</c:v>
                </c:pt>
                <c:pt idx="13">
                  <c:v>0.625</c:v>
                </c:pt>
                <c:pt idx="14">
                  <c:v>0.624</c:v>
                </c:pt>
                <c:pt idx="15">
                  <c:v>0.622</c:v>
                </c:pt>
                <c:pt idx="16">
                  <c:v>0.61499999999999999</c:v>
                </c:pt>
                <c:pt idx="17">
                  <c:v>0.60799999999999998</c:v>
                </c:pt>
                <c:pt idx="18">
                  <c:v>0.56100000000000005</c:v>
                </c:pt>
                <c:pt idx="19">
                  <c:v>0.46500000000000002</c:v>
                </c:pt>
                <c:pt idx="20">
                  <c:v>0.46</c:v>
                </c:pt>
                <c:pt idx="21">
                  <c:v>0.40500000000000003</c:v>
                </c:pt>
                <c:pt idx="22">
                  <c:v>0.38</c:v>
                </c:pt>
                <c:pt idx="23">
                  <c:v>0.36599999999999999</c:v>
                </c:pt>
                <c:pt idx="24">
                  <c:v>0.36599999999999999</c:v>
                </c:pt>
                <c:pt idx="25">
                  <c:v>0.36499999999999999</c:v>
                </c:pt>
                <c:pt idx="26">
                  <c:v>0.32700000000000001</c:v>
                </c:pt>
                <c:pt idx="27">
                  <c:v>0.25800000000000001</c:v>
                </c:pt>
                <c:pt idx="28">
                  <c:v>0.122</c:v>
                </c:pt>
                <c:pt idx="29">
                  <c:v>0.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565258394820952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748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1.8456444041784969E-4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67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830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0.122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350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27526924636813E-2"/>
                  <c:y val="4.66637272192827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25800000000000001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655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41782560988816E-2"/>
                  <c:y val="9.332745443856533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60799999999999998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866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381313554199394E-3"/>
                  <c:y val="-1.166593180482069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46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741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023962857688971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0.77100000000000002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923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4535669150020898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40500000000000003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730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220601601147073E-3"/>
                  <c:y val="-9.3327454438565764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625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87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051377057258783E-3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879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944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779589409237369E-2"/>
                  <c:y val="2.9982363315696433E-3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69199999999999995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906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866235507646268E-2"/>
                  <c:y val="6.999559082892373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61499999999999999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813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3387377081463958E-2"/>
                  <c:y val="-4.2774589148638603E-17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46500000000000002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708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863250904636667E-3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85899999999999999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23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255382592350299E-2"/>
                  <c:y val="-2.333186360964138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74299999999999999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45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9450428135567552E-3"/>
                  <c:y val="-6.6486625514403292E-4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73199999999999998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865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6253773343027682E-2"/>
                  <c:y val="1.633230452674892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32700000000000001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7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388985409937612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56100000000000005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818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431493902467101E-2"/>
                  <c:y val="-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38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8099574291528415E-2"/>
                  <c:y val="3.033142269253376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66700000000000004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830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9332452914033097E-3"/>
                  <c:y val="-2.998052616108182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78600000000000003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056582484847758E-2"/>
                  <c:y val="-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64300000000000002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826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14019885864715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68200000000000005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917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94923175544988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36599999999999999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61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0.72699999999999998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42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0.107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36599999999999999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98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916619100433179E-2"/>
                  <c:y val="-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36499999999999999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677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6.7498228352385571E-3"/>
                  <c:y val="-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624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58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9700980612051464E-2"/>
                  <c:y val="-2.566504997060552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622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I$2:$I$38</c:f>
              <c:numCache>
                <c:formatCode>General</c:formatCode>
                <c:ptCount val="37"/>
                <c:pt idx="0">
                  <c:v>56.290160764560284</c:v>
                </c:pt>
                <c:pt idx="1">
                  <c:v>100.52558312301909</c:v>
                </c:pt>
                <c:pt idx="2">
                  <c:v>148.00684577224965</c:v>
                </c:pt>
                <c:pt idx="3">
                  <c:v>172.95815816788803</c:v>
                </c:pt>
                <c:pt idx="4">
                  <c:v>188.07648380030619</c:v>
                </c:pt>
                <c:pt idx="5">
                  <c:v>204.16682577648484</c:v>
                </c:pt>
                <c:pt idx="6">
                  <c:v>222.1230919839895</c:v>
                </c:pt>
                <c:pt idx="7">
                  <c:v>235.91357386109189</c:v>
                </c:pt>
                <c:pt idx="8">
                  <c:v>242.54411392031551</c:v>
                </c:pt>
                <c:pt idx="9">
                  <c:v>241.93660370546516</c:v>
                </c:pt>
                <c:pt idx="10">
                  <c:v>238.84698032708351</c:v>
                </c:pt>
                <c:pt idx="11">
                  <c:v>245.04358451855683</c:v>
                </c:pt>
                <c:pt idx="12">
                  <c:v>244.06288945744132</c:v>
                </c:pt>
                <c:pt idx="13">
                  <c:v>234.0042560429909</c:v>
                </c:pt>
                <c:pt idx="14">
                  <c:v>245.06962067062184</c:v>
                </c:pt>
                <c:pt idx="15">
                  <c:v>327.9947649976915</c:v>
                </c:pt>
                <c:pt idx="16">
                  <c:v>545.63963882649853</c:v>
                </c:pt>
                <c:pt idx="17">
                  <c:v>822.94201575360773</c:v>
                </c:pt>
                <c:pt idx="18">
                  <c:v>977.67486747598593</c:v>
                </c:pt>
                <c:pt idx="19">
                  <c:v>1141.4162278128592</c:v>
                </c:pt>
                <c:pt idx="20">
                  <c:v>1620.4814258091169</c:v>
                </c:pt>
                <c:pt idx="21">
                  <c:v>2072.5037405271801</c:v>
                </c:pt>
                <c:pt idx="22">
                  <c:v>2109.709401828085</c:v>
                </c:pt>
                <c:pt idx="23">
                  <c:v>1789.4560527110577</c:v>
                </c:pt>
                <c:pt idx="24">
                  <c:v>1266.9799105050668</c:v>
                </c:pt>
                <c:pt idx="25">
                  <c:v>887.51167287484247</c:v>
                </c:pt>
                <c:pt idx="26">
                  <c:v>1067.5343069697044</c:v>
                </c:pt>
                <c:pt idx="27">
                  <c:v>2027.591378215031</c:v>
                </c:pt>
                <c:pt idx="28">
                  <c:v>3076.6313385012204</c:v>
                </c:pt>
                <c:pt idx="29">
                  <c:v>4776.0456986541039</c:v>
                </c:pt>
                <c:pt idx="30">
                  <c:v>5816.2767608249642</c:v>
                </c:pt>
                <c:pt idx="31">
                  <c:v>4375.9828647404538</c:v>
                </c:pt>
                <c:pt idx="32">
                  <c:v>2492.5883753788262</c:v>
                </c:pt>
                <c:pt idx="33">
                  <c:v>1428.8379891759037</c:v>
                </c:pt>
                <c:pt idx="34">
                  <c:v>935.65251804305342</c:v>
                </c:pt>
                <c:pt idx="35">
                  <c:v>774.81852802010678</c:v>
                </c:pt>
                <c:pt idx="36">
                  <c:v>706.30873321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C$2:$C$38</c:f>
              <c:numCache>
                <c:formatCode>General</c:formatCode>
                <c:ptCount val="37"/>
                <c:pt idx="0">
                  <c:v>16.037121588219271</c:v>
                </c:pt>
                <c:pt idx="1">
                  <c:v>22.246246214795129</c:v>
                </c:pt>
                <c:pt idx="2">
                  <c:v>27.800794450015097</c:v>
                </c:pt>
                <c:pt idx="3">
                  <c:v>27.71663462826934</c:v>
                </c:pt>
                <c:pt idx="4">
                  <c:v>23.789176280134008</c:v>
                </c:pt>
                <c:pt idx="5">
                  <c:v>22.386512584371392</c:v>
                </c:pt>
                <c:pt idx="6">
                  <c:v>23.246812984439128</c:v>
                </c:pt>
                <c:pt idx="7">
                  <c:v>24.172571023642458</c:v>
                </c:pt>
                <c:pt idx="8">
                  <c:v>24.518561401930569</c:v>
                </c:pt>
                <c:pt idx="9">
                  <c:v>28.773307945743845</c:v>
                </c:pt>
                <c:pt idx="10">
                  <c:v>40.817513546692197</c:v>
                </c:pt>
                <c:pt idx="11">
                  <c:v>53.095496430267652</c:v>
                </c:pt>
                <c:pt idx="12">
                  <c:v>59.295269965538417</c:v>
                </c:pt>
                <c:pt idx="13">
                  <c:v>72.714085988334148</c:v>
                </c:pt>
                <c:pt idx="14">
                  <c:v>98.158405429468047</c:v>
                </c:pt>
                <c:pt idx="15">
                  <c:v>146.04534400280383</c:v>
                </c:pt>
                <c:pt idx="16">
                  <c:v>291.45481379686197</c:v>
                </c:pt>
                <c:pt idx="17">
                  <c:v>523.21226070206683</c:v>
                </c:pt>
                <c:pt idx="18">
                  <c:v>822.49393792128421</c:v>
                </c:pt>
                <c:pt idx="19">
                  <c:v>1221.102906983105</c:v>
                </c:pt>
                <c:pt idx="20">
                  <c:v>1725.4540165228173</c:v>
                </c:pt>
                <c:pt idx="21">
                  <c:v>2207.9235724086325</c:v>
                </c:pt>
                <c:pt idx="22">
                  <c:v>2272.8481993398318</c:v>
                </c:pt>
                <c:pt idx="23">
                  <c:v>1922.9116605209738</c:v>
                </c:pt>
                <c:pt idx="24">
                  <c:v>1492.7708115784089</c:v>
                </c:pt>
                <c:pt idx="25">
                  <c:v>1020.0170395585761</c:v>
                </c:pt>
                <c:pt idx="26">
                  <c:v>715.67642194330824</c:v>
                </c:pt>
                <c:pt idx="27">
                  <c:v>774.72856353491454</c:v>
                </c:pt>
                <c:pt idx="28">
                  <c:v>1118.7458615576543</c:v>
                </c:pt>
                <c:pt idx="29">
                  <c:v>2172.5390429101944</c:v>
                </c:pt>
                <c:pt idx="30">
                  <c:v>3821.9686871226772</c:v>
                </c:pt>
                <c:pt idx="31">
                  <c:v>4476.2458435568042</c:v>
                </c:pt>
                <c:pt idx="32">
                  <c:v>3638.1262320647234</c:v>
                </c:pt>
                <c:pt idx="33">
                  <c:v>2487.221967508885</c:v>
                </c:pt>
                <c:pt idx="34">
                  <c:v>1622.3488837929599</c:v>
                </c:pt>
                <c:pt idx="35">
                  <c:v>1132.8192539718059</c:v>
                </c:pt>
                <c:pt idx="36">
                  <c:v>1008.6554636228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D$2:$D$38</c:f>
              <c:numCache>
                <c:formatCode>General</c:formatCode>
                <c:ptCount val="37"/>
                <c:pt idx="0">
                  <c:v>42.040863326998242</c:v>
                </c:pt>
                <c:pt idx="1">
                  <c:v>61.03812857641455</c:v>
                </c:pt>
                <c:pt idx="2">
                  <c:v>113.08638700743325</c:v>
                </c:pt>
                <c:pt idx="3">
                  <c:v>256.63910525777283</c:v>
                </c:pt>
                <c:pt idx="4">
                  <c:v>407.94729476209642</c:v>
                </c:pt>
                <c:pt idx="5">
                  <c:v>461.21509770556889</c:v>
                </c:pt>
                <c:pt idx="6">
                  <c:v>481.07094605875898</c:v>
                </c:pt>
                <c:pt idx="7">
                  <c:v>468.31251997171256</c:v>
                </c:pt>
                <c:pt idx="8">
                  <c:v>407.52988671337596</c:v>
                </c:pt>
                <c:pt idx="9">
                  <c:v>327.14392954413574</c:v>
                </c:pt>
                <c:pt idx="10">
                  <c:v>246.32273907142545</c:v>
                </c:pt>
                <c:pt idx="11">
                  <c:v>180.59656849585866</c:v>
                </c:pt>
                <c:pt idx="12">
                  <c:v>134.72178995979453</c:v>
                </c:pt>
                <c:pt idx="13">
                  <c:v>108.57808299367311</c:v>
                </c:pt>
                <c:pt idx="14">
                  <c:v>93.043373479372079</c:v>
                </c:pt>
                <c:pt idx="15">
                  <c:v>91.963460129123774</c:v>
                </c:pt>
                <c:pt idx="16">
                  <c:v>102.03472906266373</c:v>
                </c:pt>
                <c:pt idx="17">
                  <c:v>112.43873608486344</c:v>
                </c:pt>
                <c:pt idx="18">
                  <c:v>132.230710608534</c:v>
                </c:pt>
                <c:pt idx="19">
                  <c:v>173.88238920683202</c:v>
                </c:pt>
                <c:pt idx="20">
                  <c:v>281.71775325260393</c:v>
                </c:pt>
                <c:pt idx="21">
                  <c:v>474.50531055931253</c:v>
                </c:pt>
                <c:pt idx="22">
                  <c:v>726.20533481354255</c:v>
                </c:pt>
                <c:pt idx="23">
                  <c:v>938.43133242472072</c:v>
                </c:pt>
                <c:pt idx="24">
                  <c:v>1047.1015125679335</c:v>
                </c:pt>
                <c:pt idx="25">
                  <c:v>1316.2985097968194</c:v>
                </c:pt>
                <c:pt idx="26">
                  <c:v>2476.756759069222</c:v>
                </c:pt>
                <c:pt idx="27">
                  <c:v>4294.3846169477529</c:v>
                </c:pt>
                <c:pt idx="28">
                  <c:v>5597.1062243769393</c:v>
                </c:pt>
                <c:pt idx="29">
                  <c:v>6691.7447204863392</c:v>
                </c:pt>
                <c:pt idx="30">
                  <c:v>7254.1983525424221</c:v>
                </c:pt>
                <c:pt idx="31">
                  <c:v>6198.2183776712782</c:v>
                </c:pt>
                <c:pt idx="32">
                  <c:v>4122.4095299991313</c:v>
                </c:pt>
                <c:pt idx="33">
                  <c:v>2378.7431103904955</c:v>
                </c:pt>
                <c:pt idx="34">
                  <c:v>1501.2741492095035</c:v>
                </c:pt>
                <c:pt idx="35">
                  <c:v>1152.4220302561121</c:v>
                </c:pt>
                <c:pt idx="36">
                  <c:v>1192.85267890406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F$2:$F$38</c:f>
              <c:numCache>
                <c:formatCode>General</c:formatCode>
                <c:ptCount val="37"/>
                <c:pt idx="0">
                  <c:v>18.292635488906647</c:v>
                </c:pt>
                <c:pt idx="1">
                  <c:v>24.241514564492419</c:v>
                </c:pt>
                <c:pt idx="2">
                  <c:v>46.427413078627417</c:v>
                </c:pt>
                <c:pt idx="3">
                  <c:v>84.146123248970582</c:v>
                </c:pt>
                <c:pt idx="4">
                  <c:v>116.9303488873383</c:v>
                </c:pt>
                <c:pt idx="5">
                  <c:v>135.81150088005853</c:v>
                </c:pt>
                <c:pt idx="6">
                  <c:v>143.82773280237407</c:v>
                </c:pt>
                <c:pt idx="7">
                  <c:v>148.52748140690252</c:v>
                </c:pt>
                <c:pt idx="8">
                  <c:v>153.38316173466364</c:v>
                </c:pt>
                <c:pt idx="9">
                  <c:v>144.38942234305088</c:v>
                </c:pt>
                <c:pt idx="10">
                  <c:v>122.51371059018514</c:v>
                </c:pt>
                <c:pt idx="11">
                  <c:v>103.90250491402898</c:v>
                </c:pt>
                <c:pt idx="12">
                  <c:v>88.196994682627633</c:v>
                </c:pt>
                <c:pt idx="13">
                  <c:v>74.785189799422852</c:v>
                </c:pt>
                <c:pt idx="14">
                  <c:v>65.35886562722915</c:v>
                </c:pt>
                <c:pt idx="15">
                  <c:v>60.343900205843283</c:v>
                </c:pt>
                <c:pt idx="16">
                  <c:v>72.768137508574569</c:v>
                </c:pt>
                <c:pt idx="17">
                  <c:v>96.707848737777979</c:v>
                </c:pt>
                <c:pt idx="18">
                  <c:v>119.40178286631614</c:v>
                </c:pt>
                <c:pt idx="19">
                  <c:v>155.89483615834669</c:v>
                </c:pt>
                <c:pt idx="20">
                  <c:v>206.61288665366632</c:v>
                </c:pt>
                <c:pt idx="21">
                  <c:v>261.13198248843156</c:v>
                </c:pt>
                <c:pt idx="22">
                  <c:v>320.66604374458262</c:v>
                </c:pt>
                <c:pt idx="23">
                  <c:v>382.7285462763773</c:v>
                </c:pt>
                <c:pt idx="24">
                  <c:v>497.55297855747659</c:v>
                </c:pt>
                <c:pt idx="25">
                  <c:v>786.17756820554166</c:v>
                </c:pt>
                <c:pt idx="26">
                  <c:v>1865.877323516811</c:v>
                </c:pt>
                <c:pt idx="27">
                  <c:v>3387.8648366385496</c:v>
                </c:pt>
                <c:pt idx="28">
                  <c:v>4023.913689074961</c:v>
                </c:pt>
                <c:pt idx="29">
                  <c:v>3925.269268935745</c:v>
                </c:pt>
                <c:pt idx="30">
                  <c:v>3440.658623406579</c:v>
                </c:pt>
                <c:pt idx="31">
                  <c:v>2602.5725582165223</c:v>
                </c:pt>
                <c:pt idx="32">
                  <c:v>1829.9509898210451</c:v>
                </c:pt>
                <c:pt idx="33">
                  <c:v>1324.7724469919328</c:v>
                </c:pt>
                <c:pt idx="34">
                  <c:v>1035.6314383034844</c:v>
                </c:pt>
                <c:pt idx="35">
                  <c:v>894.41933440694845</c:v>
                </c:pt>
                <c:pt idx="36">
                  <c:v>857.217043276988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K$2:$K$38</c:f>
              <c:numCache>
                <c:formatCode>General</c:formatCode>
                <c:ptCount val="37"/>
                <c:pt idx="0">
                  <c:v>6.4690958394501434</c:v>
                </c:pt>
                <c:pt idx="1">
                  <c:v>5.0872478357701283</c:v>
                </c:pt>
                <c:pt idx="2">
                  <c:v>6.1620185052990291</c:v>
                </c:pt>
                <c:pt idx="3">
                  <c:v>7.4005637530418573</c:v>
                </c:pt>
                <c:pt idx="4">
                  <c:v>8.0044825102057153</c:v>
                </c:pt>
                <c:pt idx="5">
                  <c:v>7.6666974426394896</c:v>
                </c:pt>
                <c:pt idx="6">
                  <c:v>8.7824117567218707</c:v>
                </c:pt>
                <c:pt idx="7">
                  <c:v>11.361861363591233</c:v>
                </c:pt>
                <c:pt idx="8">
                  <c:v>17.636474891412337</c:v>
                </c:pt>
                <c:pt idx="9">
                  <c:v>26.275583892197023</c:v>
                </c:pt>
                <c:pt idx="10">
                  <c:v>34.576907825415482</c:v>
                </c:pt>
                <c:pt idx="11">
                  <c:v>46.501744301617094</c:v>
                </c:pt>
                <c:pt idx="12">
                  <c:v>57.884077487485065</c:v>
                </c:pt>
                <c:pt idx="13">
                  <c:v>68.017629514471835</c:v>
                </c:pt>
                <c:pt idx="14">
                  <c:v>83.903763601222821</c:v>
                </c:pt>
                <c:pt idx="15">
                  <c:v>117.84604493605933</c:v>
                </c:pt>
                <c:pt idx="16">
                  <c:v>215.51710901839047</c:v>
                </c:pt>
                <c:pt idx="17">
                  <c:v>391.42124193128711</c:v>
                </c:pt>
                <c:pt idx="18">
                  <c:v>608.88317406596798</c:v>
                </c:pt>
                <c:pt idx="19">
                  <c:v>882.48907879461092</c:v>
                </c:pt>
                <c:pt idx="20">
                  <c:v>1184.2949187094646</c:v>
                </c:pt>
                <c:pt idx="21">
                  <c:v>1390.7941900149506</c:v>
                </c:pt>
                <c:pt idx="22">
                  <c:v>1349.8096018169151</c:v>
                </c:pt>
                <c:pt idx="23">
                  <c:v>1046.3148365642305</c:v>
                </c:pt>
                <c:pt idx="24">
                  <c:v>725.0300577530578</c:v>
                </c:pt>
                <c:pt idx="25">
                  <c:v>474.74155859762283</c:v>
                </c:pt>
                <c:pt idx="26">
                  <c:v>346.78243345685348</c:v>
                </c:pt>
                <c:pt idx="27">
                  <c:v>535.2460293365308</c:v>
                </c:pt>
                <c:pt idx="28">
                  <c:v>879.76632643180437</c:v>
                </c:pt>
                <c:pt idx="29">
                  <c:v>1471.6374161858007</c:v>
                </c:pt>
                <c:pt idx="30">
                  <c:v>2100.1325959928863</c:v>
                </c:pt>
                <c:pt idx="31">
                  <c:v>2141.1376560131985</c:v>
                </c:pt>
                <c:pt idx="32">
                  <c:v>1675.3320478393732</c:v>
                </c:pt>
                <c:pt idx="33">
                  <c:v>1116.9938029746786</c:v>
                </c:pt>
                <c:pt idx="34">
                  <c:v>721.34512974324446</c:v>
                </c:pt>
                <c:pt idx="35">
                  <c:v>473.03216143751496</c:v>
                </c:pt>
                <c:pt idx="36">
                  <c:v>316.125879597433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E$2:$E$38</c:f>
              <c:numCache>
                <c:formatCode>General</c:formatCode>
                <c:ptCount val="37"/>
                <c:pt idx="0">
                  <c:v>11.084964030860858</c:v>
                </c:pt>
                <c:pt idx="1">
                  <c:v>11.968731094824706</c:v>
                </c:pt>
                <c:pt idx="2">
                  <c:v>17.65610281257846</c:v>
                </c:pt>
                <c:pt idx="3">
                  <c:v>26.139064222462761</c:v>
                </c:pt>
                <c:pt idx="4">
                  <c:v>33.842867731056479</c:v>
                </c:pt>
                <c:pt idx="5">
                  <c:v>43.201179375724024</c:v>
                </c:pt>
                <c:pt idx="6">
                  <c:v>63.109385196199476</c:v>
                </c:pt>
                <c:pt idx="7">
                  <c:v>98.246039812732292</c:v>
                </c:pt>
                <c:pt idx="8">
                  <c:v>139.4836931810373</c:v>
                </c:pt>
                <c:pt idx="9">
                  <c:v>169.63397771014414</c:v>
                </c:pt>
                <c:pt idx="10">
                  <c:v>176.01273182487643</c:v>
                </c:pt>
                <c:pt idx="11">
                  <c:v>160.07366216514203</c:v>
                </c:pt>
                <c:pt idx="12">
                  <c:v>138.35463566666715</c:v>
                </c:pt>
                <c:pt idx="13">
                  <c:v>132.37748454426674</c:v>
                </c:pt>
                <c:pt idx="14">
                  <c:v>137.6644556738573</c:v>
                </c:pt>
                <c:pt idx="15">
                  <c:v>148.32256622484445</c:v>
                </c:pt>
                <c:pt idx="16">
                  <c:v>196.08807182479538</c:v>
                </c:pt>
                <c:pt idx="17">
                  <c:v>282.27640263422222</c:v>
                </c:pt>
                <c:pt idx="18">
                  <c:v>378.65510877302819</c:v>
                </c:pt>
                <c:pt idx="19">
                  <c:v>540.09710688210328</c:v>
                </c:pt>
                <c:pt idx="20">
                  <c:v>749.13266679501135</c:v>
                </c:pt>
                <c:pt idx="21">
                  <c:v>907.91374447884573</c:v>
                </c:pt>
                <c:pt idx="22">
                  <c:v>951.87243848082437</c:v>
                </c:pt>
                <c:pt idx="23">
                  <c:v>873.5418189135795</c:v>
                </c:pt>
                <c:pt idx="24">
                  <c:v>735.65732327685771</c:v>
                </c:pt>
                <c:pt idx="25">
                  <c:v>562.19368828953691</c:v>
                </c:pt>
                <c:pt idx="26">
                  <c:v>484.1841106353238</c:v>
                </c:pt>
                <c:pt idx="27">
                  <c:v>657.56117252250124</c:v>
                </c:pt>
                <c:pt idx="28">
                  <c:v>991.02512302067578</c:v>
                </c:pt>
                <c:pt idx="29">
                  <c:v>1541.6312423368527</c:v>
                </c:pt>
                <c:pt idx="30">
                  <c:v>2291.9663133005224</c:v>
                </c:pt>
                <c:pt idx="31">
                  <c:v>2884.6144943738368</c:v>
                </c:pt>
                <c:pt idx="32">
                  <c:v>3120.9097591943969</c:v>
                </c:pt>
                <c:pt idx="33">
                  <c:v>3001.9631292140434</c:v>
                </c:pt>
                <c:pt idx="34">
                  <c:v>2740.8117654189787</c:v>
                </c:pt>
                <c:pt idx="35">
                  <c:v>2658.9905665501187</c:v>
                </c:pt>
                <c:pt idx="36">
                  <c:v>2967.93388883684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G$2:$G$38</c:f>
              <c:numCache>
                <c:formatCode>General</c:formatCode>
                <c:ptCount val="37"/>
                <c:pt idx="0">
                  <c:v>58.267703417791729</c:v>
                </c:pt>
                <c:pt idx="1">
                  <c:v>258.04843118674995</c:v>
                </c:pt>
                <c:pt idx="2">
                  <c:v>627.39317372283404</c:v>
                </c:pt>
                <c:pt idx="3">
                  <c:v>661.10261704883249</c:v>
                </c:pt>
                <c:pt idx="4">
                  <c:v>398.51018966732033</c:v>
                </c:pt>
                <c:pt idx="5">
                  <c:v>243.75006642219469</c:v>
                </c:pt>
                <c:pt idx="6">
                  <c:v>196.16161575543074</c:v>
                </c:pt>
                <c:pt idx="7">
                  <c:v>189.74487270922415</c:v>
                </c:pt>
                <c:pt idx="8">
                  <c:v>199.60838910164739</c:v>
                </c:pt>
                <c:pt idx="9">
                  <c:v>203.85940956198118</c:v>
                </c:pt>
                <c:pt idx="10">
                  <c:v>197.46564500474935</c:v>
                </c:pt>
                <c:pt idx="11">
                  <c:v>176.57245390443305</c:v>
                </c:pt>
                <c:pt idx="12">
                  <c:v>147.25190197261711</c:v>
                </c:pt>
                <c:pt idx="13">
                  <c:v>133.01672805274254</c:v>
                </c:pt>
                <c:pt idx="14">
                  <c:v>158.98816521648465</c:v>
                </c:pt>
                <c:pt idx="15">
                  <c:v>227.84895205164875</c:v>
                </c:pt>
                <c:pt idx="16">
                  <c:v>335.25615414200189</c:v>
                </c:pt>
                <c:pt idx="17">
                  <c:v>484.20846429875252</c:v>
                </c:pt>
                <c:pt idx="18">
                  <c:v>680.01965809731792</c:v>
                </c:pt>
                <c:pt idx="19">
                  <c:v>934.5351466041958</c:v>
                </c:pt>
                <c:pt idx="20">
                  <c:v>1382.8856788578082</c:v>
                </c:pt>
                <c:pt idx="21">
                  <c:v>1746.8936673295004</c:v>
                </c:pt>
                <c:pt idx="22">
                  <c:v>1776.8059153524168</c:v>
                </c:pt>
                <c:pt idx="23">
                  <c:v>1612.3316358932038</c:v>
                </c:pt>
                <c:pt idx="24">
                  <c:v>1310.8079035661754</c:v>
                </c:pt>
                <c:pt idx="25">
                  <c:v>1061.8302309022188</c:v>
                </c:pt>
                <c:pt idx="26">
                  <c:v>1067.7127240797618</c:v>
                </c:pt>
                <c:pt idx="27">
                  <c:v>1594.2245865810796</c:v>
                </c:pt>
                <c:pt idx="28">
                  <c:v>2303.9152185670787</c:v>
                </c:pt>
                <c:pt idx="29">
                  <c:v>3117.7443625867691</c:v>
                </c:pt>
                <c:pt idx="30">
                  <c:v>4277.9569940344973</c:v>
                </c:pt>
                <c:pt idx="31">
                  <c:v>5706.788161597372</c:v>
                </c:pt>
                <c:pt idx="32">
                  <c:v>8178.2855002575025</c:v>
                </c:pt>
                <c:pt idx="33">
                  <c:v>6916.542415274721</c:v>
                </c:pt>
                <c:pt idx="34">
                  <c:v>3437.9668403170231</c:v>
                </c:pt>
                <c:pt idx="35">
                  <c:v>3594.3412024126264</c:v>
                </c:pt>
                <c:pt idx="36">
                  <c:v>4799.51124753950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J$2:$J$38</c:f>
              <c:numCache>
                <c:formatCode>General</c:formatCode>
                <c:ptCount val="37"/>
                <c:pt idx="0">
                  <c:v>3.859514921411582</c:v>
                </c:pt>
                <c:pt idx="1">
                  <c:v>3.106053305354441</c:v>
                </c:pt>
                <c:pt idx="2">
                  <c:v>3.1323981171046906</c:v>
                </c:pt>
                <c:pt idx="3">
                  <c:v>3.6013357662591354</c:v>
                </c:pt>
                <c:pt idx="4">
                  <c:v>4.3047422399908024</c:v>
                </c:pt>
                <c:pt idx="5">
                  <c:v>5.1056245171983941</c:v>
                </c:pt>
                <c:pt idx="6">
                  <c:v>6.1725893930835074</c:v>
                </c:pt>
                <c:pt idx="7">
                  <c:v>6.984009594991198</c:v>
                </c:pt>
                <c:pt idx="8">
                  <c:v>7.8033332404239637</c:v>
                </c:pt>
                <c:pt idx="9">
                  <c:v>10.261304176722261</c:v>
                </c:pt>
                <c:pt idx="10">
                  <c:v>14.579218822588187</c:v>
                </c:pt>
                <c:pt idx="11">
                  <c:v>20.103725846615554</c:v>
                </c:pt>
                <c:pt idx="12">
                  <c:v>25.654577682393167</c:v>
                </c:pt>
                <c:pt idx="13">
                  <c:v>34.917413493780963</c:v>
                </c:pt>
                <c:pt idx="14">
                  <c:v>51.772824051590725</c:v>
                </c:pt>
                <c:pt idx="15">
                  <c:v>77.917415232538531</c:v>
                </c:pt>
                <c:pt idx="16">
                  <c:v>138.51048225811286</c:v>
                </c:pt>
                <c:pt idx="17">
                  <c:v>234.55049349364819</c:v>
                </c:pt>
                <c:pt idx="18">
                  <c:v>357.38581276036246</c:v>
                </c:pt>
                <c:pt idx="19">
                  <c:v>484.39678468949137</c:v>
                </c:pt>
                <c:pt idx="20">
                  <c:v>648.62507217819791</c:v>
                </c:pt>
                <c:pt idx="21">
                  <c:v>808.64609323038974</c:v>
                </c:pt>
                <c:pt idx="22">
                  <c:v>861.25404781446332</c:v>
                </c:pt>
                <c:pt idx="23">
                  <c:v>839.44054368525667</c:v>
                </c:pt>
                <c:pt idx="24">
                  <c:v>747.58672303683602</c:v>
                </c:pt>
                <c:pt idx="25">
                  <c:v>567.08787981117507</c:v>
                </c:pt>
                <c:pt idx="26">
                  <c:v>435.78270356675557</c:v>
                </c:pt>
                <c:pt idx="27">
                  <c:v>437.6505507198483</c:v>
                </c:pt>
                <c:pt idx="28">
                  <c:v>499.61618243761063</c:v>
                </c:pt>
                <c:pt idx="29">
                  <c:v>859.74975906352415</c:v>
                </c:pt>
                <c:pt idx="30">
                  <c:v>1482.2513159101745</c:v>
                </c:pt>
                <c:pt idx="31">
                  <c:v>1777.1656765671701</c:v>
                </c:pt>
                <c:pt idx="32">
                  <c:v>1483.9163080127903</c:v>
                </c:pt>
                <c:pt idx="33">
                  <c:v>990.44900463768795</c:v>
                </c:pt>
                <c:pt idx="34">
                  <c:v>664.20539384729568</c:v>
                </c:pt>
                <c:pt idx="35">
                  <c:v>484.56012252234291</c:v>
                </c:pt>
                <c:pt idx="36">
                  <c:v>413.41595839079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B$2:$B$38</c:f>
              <c:numCache>
                <c:formatCode>General</c:formatCode>
                <c:ptCount val="37"/>
                <c:pt idx="0">
                  <c:v>14.739810881036243</c:v>
                </c:pt>
                <c:pt idx="1">
                  <c:v>19.390940229168109</c:v>
                </c:pt>
                <c:pt idx="2">
                  <c:v>36.916934874302669</c:v>
                </c:pt>
                <c:pt idx="3">
                  <c:v>53.094776085196109</c:v>
                </c:pt>
                <c:pt idx="4">
                  <c:v>64.980995530421978</c:v>
                </c:pt>
                <c:pt idx="5">
                  <c:v>77.72104548400057</c:v>
                </c:pt>
                <c:pt idx="6">
                  <c:v>107.49276715682528</c:v>
                </c:pt>
                <c:pt idx="7">
                  <c:v>156.90259052176233</c:v>
                </c:pt>
                <c:pt idx="8">
                  <c:v>196.61694377211535</c:v>
                </c:pt>
                <c:pt idx="9">
                  <c:v>233.02832110857759</c:v>
                </c:pt>
                <c:pt idx="10">
                  <c:v>284.97716677466872</c:v>
                </c:pt>
                <c:pt idx="11">
                  <c:v>312.41208916147554</c:v>
                </c:pt>
                <c:pt idx="12">
                  <c:v>286.60618550771005</c:v>
                </c:pt>
                <c:pt idx="13">
                  <c:v>273.64144331509129</c:v>
                </c:pt>
                <c:pt idx="14">
                  <c:v>285.11198211809284</c:v>
                </c:pt>
                <c:pt idx="15">
                  <c:v>316.18691877735068</c:v>
                </c:pt>
                <c:pt idx="16">
                  <c:v>440.56530769804601</c:v>
                </c:pt>
                <c:pt idx="17">
                  <c:v>656.42714174395337</c:v>
                </c:pt>
                <c:pt idx="18">
                  <c:v>1023.1922835292499</c:v>
                </c:pt>
                <c:pt idx="19">
                  <c:v>1520.312627793711</c:v>
                </c:pt>
                <c:pt idx="20">
                  <c:v>1978.4713378086037</c:v>
                </c:pt>
                <c:pt idx="21">
                  <c:v>2021.8369399433598</c:v>
                </c:pt>
                <c:pt idx="22">
                  <c:v>1500.6295876537906</c:v>
                </c:pt>
                <c:pt idx="23">
                  <c:v>900.95970549138838</c:v>
                </c:pt>
                <c:pt idx="24">
                  <c:v>541.16002311633758</c:v>
                </c:pt>
                <c:pt idx="25">
                  <c:v>376.38196961621668</c:v>
                </c:pt>
                <c:pt idx="26">
                  <c:v>424.34252803934447</c:v>
                </c:pt>
                <c:pt idx="27">
                  <c:v>961.82883304737504</c:v>
                </c:pt>
                <c:pt idx="28">
                  <c:v>1951.1262923174129</c:v>
                </c:pt>
                <c:pt idx="29">
                  <c:v>3231.1979781293562</c:v>
                </c:pt>
                <c:pt idx="30">
                  <c:v>4534.6938298612386</c:v>
                </c:pt>
                <c:pt idx="31">
                  <c:v>5153.0693409237365</c:v>
                </c:pt>
                <c:pt idx="32">
                  <c:v>5032.3422008874441</c:v>
                </c:pt>
                <c:pt idx="33">
                  <c:v>4635.1312607122027</c:v>
                </c:pt>
                <c:pt idx="34">
                  <c:v>4291.0600350699651</c:v>
                </c:pt>
                <c:pt idx="35">
                  <c:v>4530.6943080063238</c:v>
                </c:pt>
                <c:pt idx="36">
                  <c:v>5811.37266286367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L$2:$L$38</c:f>
              <c:numCache>
                <c:formatCode>General</c:formatCode>
                <c:ptCount val="37"/>
                <c:pt idx="0">
                  <c:v>11.359736659317649</c:v>
                </c:pt>
                <c:pt idx="1">
                  <c:v>8.4831581826839866</c:v>
                </c:pt>
                <c:pt idx="2">
                  <c:v>8.2266480000542348</c:v>
                </c:pt>
                <c:pt idx="3">
                  <c:v>9.7657090958327544</c:v>
                </c:pt>
                <c:pt idx="4">
                  <c:v>13.485106743964177</c:v>
                </c:pt>
                <c:pt idx="5">
                  <c:v>15.390610957785205</c:v>
                </c:pt>
                <c:pt idx="6">
                  <c:v>18.13893434310399</c:v>
                </c:pt>
                <c:pt idx="7">
                  <c:v>22.811084098145926</c:v>
                </c:pt>
                <c:pt idx="8">
                  <c:v>27.446589541383613</c:v>
                </c:pt>
                <c:pt idx="9">
                  <c:v>46.373376588278987</c:v>
                </c:pt>
                <c:pt idx="10">
                  <c:v>87.579905212158664</c:v>
                </c:pt>
                <c:pt idx="11">
                  <c:v>146.48563643749131</c:v>
                </c:pt>
                <c:pt idx="12">
                  <c:v>210.4482826918105</c:v>
                </c:pt>
                <c:pt idx="13">
                  <c:v>280.75039488826508</c:v>
                </c:pt>
                <c:pt idx="14">
                  <c:v>361.09304851908428</c:v>
                </c:pt>
                <c:pt idx="15">
                  <c:v>446.89570460873676</c:v>
                </c:pt>
                <c:pt idx="16">
                  <c:v>657.98526275712175</c:v>
                </c:pt>
                <c:pt idx="17">
                  <c:v>1013.3984429465471</c:v>
                </c:pt>
                <c:pt idx="18">
                  <c:v>1392.5204928733226</c:v>
                </c:pt>
                <c:pt idx="19">
                  <c:v>1732.6713171962779</c:v>
                </c:pt>
                <c:pt idx="20">
                  <c:v>2083.7604685928013</c:v>
                </c:pt>
                <c:pt idx="21">
                  <c:v>2318.320708451809</c:v>
                </c:pt>
                <c:pt idx="22">
                  <c:v>2299.7420423670542</c:v>
                </c:pt>
                <c:pt idx="23">
                  <c:v>1948.1398706052707</c:v>
                </c:pt>
                <c:pt idx="24">
                  <c:v>1394.1878090604162</c:v>
                </c:pt>
                <c:pt idx="25">
                  <c:v>936.59196540483822</c:v>
                </c:pt>
                <c:pt idx="26">
                  <c:v>731.32885283332905</c:v>
                </c:pt>
                <c:pt idx="27">
                  <c:v>704.90830402246445</c:v>
                </c:pt>
                <c:pt idx="28">
                  <c:v>668.04412634738844</c:v>
                </c:pt>
                <c:pt idx="29">
                  <c:v>1136.6332635442416</c:v>
                </c:pt>
                <c:pt idx="30">
                  <c:v>2598.4481500394018</c:v>
                </c:pt>
                <c:pt idx="31">
                  <c:v>4230.2926433062839</c:v>
                </c:pt>
                <c:pt idx="32">
                  <c:v>4956.6561918901371</c:v>
                </c:pt>
                <c:pt idx="33">
                  <c:v>4777.795305973591</c:v>
                </c:pt>
                <c:pt idx="34">
                  <c:v>4014.7874455854876</c:v>
                </c:pt>
                <c:pt idx="35">
                  <c:v>3126.3094615796299</c:v>
                </c:pt>
                <c:pt idx="36">
                  <c:v>2668.18227540289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8</c:f>
              <c:numCache>
                <c:formatCode>General</c:formatCode>
                <c:ptCount val="37"/>
                <c:pt idx="0">
                  <c:v>229.19714512281107</c:v>
                </c:pt>
                <c:pt idx="1">
                  <c:v>451.48150913448387</c:v>
                </c:pt>
                <c:pt idx="2">
                  <c:v>657.43252633374527</c:v>
                </c:pt>
                <c:pt idx="3">
                  <c:v>764.20034608694971</c:v>
                </c:pt>
                <c:pt idx="4">
                  <c:v>724.4328403244325</c:v>
                </c:pt>
                <c:pt idx="5">
                  <c:v>584.10887680955045</c:v>
                </c:pt>
                <c:pt idx="6">
                  <c:v>442.73489733738347</c:v>
                </c:pt>
                <c:pt idx="7">
                  <c:v>335.66073490046415</c:v>
                </c:pt>
                <c:pt idx="8">
                  <c:v>253.87780188941181</c:v>
                </c:pt>
                <c:pt idx="9">
                  <c:v>181.57247770004844</c:v>
                </c:pt>
                <c:pt idx="10">
                  <c:v>121.06451589595285</c:v>
                </c:pt>
                <c:pt idx="11">
                  <c:v>86.487934091280067</c:v>
                </c:pt>
                <c:pt idx="12">
                  <c:v>67.984835994901957</c:v>
                </c:pt>
                <c:pt idx="13">
                  <c:v>55.952963003480008</c:v>
                </c:pt>
                <c:pt idx="14">
                  <c:v>47.335226404356199</c:v>
                </c:pt>
                <c:pt idx="15">
                  <c:v>44.087993956978586</c:v>
                </c:pt>
                <c:pt idx="16">
                  <c:v>48.313410284080234</c:v>
                </c:pt>
                <c:pt idx="17">
                  <c:v>54.129695858335651</c:v>
                </c:pt>
                <c:pt idx="18">
                  <c:v>61.870658569585871</c:v>
                </c:pt>
                <c:pt idx="19">
                  <c:v>87.316115691391985</c:v>
                </c:pt>
                <c:pt idx="20">
                  <c:v>139.19366464738246</c:v>
                </c:pt>
                <c:pt idx="21">
                  <c:v>210.32432309781157</c:v>
                </c:pt>
                <c:pt idx="22">
                  <c:v>313.4012416892927</c:v>
                </c:pt>
                <c:pt idx="23">
                  <c:v>431.21429972154078</c:v>
                </c:pt>
                <c:pt idx="24">
                  <c:v>723.95536827947001</c:v>
                </c:pt>
                <c:pt idx="25">
                  <c:v>1511.5074776981469</c:v>
                </c:pt>
                <c:pt idx="26">
                  <c:v>2686.9675949019002</c:v>
                </c:pt>
                <c:pt idx="27">
                  <c:v>3520.9675932962418</c:v>
                </c:pt>
                <c:pt idx="28">
                  <c:v>3860.4312028910972</c:v>
                </c:pt>
                <c:pt idx="29">
                  <c:v>3767.6368349316181</c:v>
                </c:pt>
                <c:pt idx="30">
                  <c:v>3081.0933028123063</c:v>
                </c:pt>
                <c:pt idx="31">
                  <c:v>2110.3039016607026</c:v>
                </c:pt>
                <c:pt idx="32">
                  <c:v>1310.1177974239918</c:v>
                </c:pt>
                <c:pt idx="33">
                  <c:v>839.33458650730756</c:v>
                </c:pt>
                <c:pt idx="34">
                  <c:v>574.44323696130539</c:v>
                </c:pt>
                <c:pt idx="35">
                  <c:v>473.09240093944521</c:v>
                </c:pt>
                <c:pt idx="36">
                  <c:v>426.88958611075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7C73-43E6-B540-622F64279A4E}"/>
              </c:ext>
            </c:extLst>
          </c:dPt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H$2:$H$38</c:f>
              <c:numCache>
                <c:formatCode>General</c:formatCode>
                <c:ptCount val="37"/>
                <c:pt idx="0">
                  <c:v>460.01708819190543</c:v>
                </c:pt>
                <c:pt idx="1">
                  <c:v>623.85226958214719</c:v>
                </c:pt>
                <c:pt idx="2">
                  <c:v>843.11806504811796</c:v>
                </c:pt>
                <c:pt idx="3">
                  <c:v>831.69135970785021</c:v>
                </c:pt>
                <c:pt idx="4">
                  <c:v>604.66768791468178</c:v>
                </c:pt>
                <c:pt idx="5">
                  <c:v>561.1750937553312</c:v>
                </c:pt>
                <c:pt idx="6">
                  <c:v>595.86808160339672</c:v>
                </c:pt>
                <c:pt idx="7">
                  <c:v>656.86585352074542</c:v>
                </c:pt>
                <c:pt idx="8">
                  <c:v>705.04402866635212</c:v>
                </c:pt>
                <c:pt idx="9">
                  <c:v>746.70000437702913</c:v>
                </c:pt>
                <c:pt idx="10">
                  <c:v>730.59653381905866</c:v>
                </c:pt>
                <c:pt idx="11">
                  <c:v>650.4597283717718</c:v>
                </c:pt>
                <c:pt idx="12">
                  <c:v>672.42274642839061</c:v>
                </c:pt>
                <c:pt idx="13">
                  <c:v>701.53094489772923</c:v>
                </c:pt>
                <c:pt idx="14">
                  <c:v>731.09315544757999</c:v>
                </c:pt>
                <c:pt idx="15">
                  <c:v>855.8671356714309</c:v>
                </c:pt>
                <c:pt idx="16">
                  <c:v>934.44648867424257</c:v>
                </c:pt>
                <c:pt idx="17">
                  <c:v>882.43786209208213</c:v>
                </c:pt>
                <c:pt idx="18">
                  <c:v>768.57192615859367</c:v>
                </c:pt>
                <c:pt idx="19">
                  <c:v>759.59747377099484</c:v>
                </c:pt>
                <c:pt idx="20">
                  <c:v>845.40281839826798</c:v>
                </c:pt>
                <c:pt idx="21">
                  <c:v>882.04556039144541</c:v>
                </c:pt>
                <c:pt idx="22">
                  <c:v>944.94019184258423</c:v>
                </c:pt>
                <c:pt idx="23">
                  <c:v>1067.9480797661904</c:v>
                </c:pt>
                <c:pt idx="24">
                  <c:v>1563.7469032225351</c:v>
                </c:pt>
                <c:pt idx="25">
                  <c:v>2355.1325691031734</c:v>
                </c:pt>
                <c:pt idx="28">
                  <c:v>2756.9832163782053</c:v>
                </c:pt>
                <c:pt idx="29">
                  <c:v>2055.0849477907409</c:v>
                </c:pt>
                <c:pt idx="30">
                  <c:v>2008.6390711659235</c:v>
                </c:pt>
                <c:pt idx="31">
                  <c:v>1594.0452304466144</c:v>
                </c:pt>
                <c:pt idx="32">
                  <c:v>1429.553274299127</c:v>
                </c:pt>
                <c:pt idx="33">
                  <c:v>1179.0017855310698</c:v>
                </c:pt>
                <c:pt idx="34">
                  <c:v>791.46794638713868</c:v>
                </c:pt>
                <c:pt idx="35">
                  <c:v>939.68599378461863</c:v>
                </c:pt>
                <c:pt idx="36">
                  <c:v>1293.94618381761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573984053497943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I$2:$I$38</c:f>
              <c:numCache>
                <c:formatCode>General</c:formatCode>
                <c:ptCount val="37"/>
                <c:pt idx="0">
                  <c:v>35.322379634869002</c:v>
                </c:pt>
                <c:pt idx="1">
                  <c:v>65.203203488150081</c:v>
                </c:pt>
                <c:pt idx="2">
                  <c:v>82.803642284099553</c:v>
                </c:pt>
                <c:pt idx="3">
                  <c:v>90.154515883788505</c:v>
                </c:pt>
                <c:pt idx="4">
                  <c:v>97.921967916517687</c:v>
                </c:pt>
                <c:pt idx="5">
                  <c:v>106.24485785996715</c:v>
                </c:pt>
                <c:pt idx="6">
                  <c:v>115.87823412402236</c:v>
                </c:pt>
                <c:pt idx="7">
                  <c:v>120.03533973706958</c:v>
                </c:pt>
                <c:pt idx="8">
                  <c:v>122.5087741832459</c:v>
                </c:pt>
                <c:pt idx="9">
                  <c:v>119.42782952221926</c:v>
                </c:pt>
                <c:pt idx="10">
                  <c:v>119.41915080486424</c:v>
                </c:pt>
                <c:pt idx="11">
                  <c:v>125.6244337136926</c:v>
                </c:pt>
                <c:pt idx="12">
                  <c:v>118.43845574374872</c:v>
                </c:pt>
                <c:pt idx="13">
                  <c:v>115.56580029924218</c:v>
                </c:pt>
                <c:pt idx="14">
                  <c:v>129.50382037137967</c:v>
                </c:pt>
                <c:pt idx="15">
                  <c:v>198.4909446263118</c:v>
                </c:pt>
                <c:pt idx="16">
                  <c:v>347.14869420018675</c:v>
                </c:pt>
                <c:pt idx="17">
                  <c:v>475.79332155342098</c:v>
                </c:pt>
                <c:pt idx="18">
                  <c:v>501.88154592256501</c:v>
                </c:pt>
                <c:pt idx="19">
                  <c:v>639.53468189029411</c:v>
                </c:pt>
                <c:pt idx="20">
                  <c:v>980.94674391882279</c:v>
                </c:pt>
                <c:pt idx="21">
                  <c:v>1091.5569966083572</c:v>
                </c:pt>
                <c:pt idx="22">
                  <c:v>1018.1524052197277</c:v>
                </c:pt>
                <c:pt idx="23">
                  <c:v>771.30364749133003</c:v>
                </c:pt>
                <c:pt idx="24">
                  <c:v>495.67626301373667</c:v>
                </c:pt>
                <c:pt idx="25">
                  <c:v>391.83540986110586</c:v>
                </c:pt>
                <c:pt idx="26">
                  <c:v>675.69889710859854</c:v>
                </c:pt>
                <c:pt idx="27">
                  <c:v>1351.8924811064323</c:v>
                </c:pt>
                <c:pt idx="28">
                  <c:v>1724.7388573947878</c:v>
                </c:pt>
                <c:pt idx="29">
                  <c:v>3051.3068412593166</c:v>
                </c:pt>
                <c:pt idx="30">
                  <c:v>2764.9699195656476</c:v>
                </c:pt>
                <c:pt idx="31">
                  <c:v>1611.0129451748066</c:v>
                </c:pt>
                <c:pt idx="32">
                  <c:v>881.57543020401931</c:v>
                </c:pt>
                <c:pt idx="33">
                  <c:v>547.26255897188446</c:v>
                </c:pt>
                <c:pt idx="34">
                  <c:v>388.38995907116896</c:v>
                </c:pt>
                <c:pt idx="35">
                  <c:v>386.42856894893788</c:v>
                </c:pt>
                <c:pt idx="36">
                  <c:v>319.880164270762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C$2:$C$38</c:f>
              <c:numCache>
                <c:formatCode>General</c:formatCode>
                <c:ptCount val="37"/>
                <c:pt idx="0">
                  <c:v>9.5100598572705533</c:v>
                </c:pt>
                <c:pt idx="1">
                  <c:v>12.736186357524575</c:v>
                </c:pt>
                <c:pt idx="2">
                  <c:v>15.064608092490522</c:v>
                </c:pt>
                <c:pt idx="3">
                  <c:v>12.652026535778818</c:v>
                </c:pt>
                <c:pt idx="4">
                  <c:v>11.13714974435519</c:v>
                </c:pt>
                <c:pt idx="5">
                  <c:v>11.249362840016198</c:v>
                </c:pt>
                <c:pt idx="6">
                  <c:v>11.997450144422929</c:v>
                </c:pt>
                <c:pt idx="7">
                  <c:v>12.175120879219527</c:v>
                </c:pt>
                <c:pt idx="8">
                  <c:v>12.343440522711042</c:v>
                </c:pt>
                <c:pt idx="9">
                  <c:v>16.429867423032803</c:v>
                </c:pt>
                <c:pt idx="10">
                  <c:v>24.38764612365939</c:v>
                </c:pt>
                <c:pt idx="11">
                  <c:v>28.707850306608258</c:v>
                </c:pt>
                <c:pt idx="12">
                  <c:v>30.587419658930166</c:v>
                </c:pt>
                <c:pt idx="13">
                  <c:v>42.126666329403974</c:v>
                </c:pt>
                <c:pt idx="14">
                  <c:v>56.031739100064065</c:v>
                </c:pt>
                <c:pt idx="15">
                  <c:v>90.013604902739772</c:v>
                </c:pt>
                <c:pt idx="16">
                  <c:v>201.44120889412218</c:v>
                </c:pt>
                <c:pt idx="17">
                  <c:v>321.77105180794467</c:v>
                </c:pt>
                <c:pt idx="18">
                  <c:v>500.72288611333954</c:v>
                </c:pt>
                <c:pt idx="19">
                  <c:v>720.38002086976564</c:v>
                </c:pt>
                <c:pt idx="20">
                  <c:v>1005.0739956530517</c:v>
                </c:pt>
                <c:pt idx="21">
                  <c:v>1202.849576755581</c:v>
                </c:pt>
                <c:pt idx="22">
                  <c:v>1069.9986225842508</c:v>
                </c:pt>
                <c:pt idx="23">
                  <c:v>852.91303793672284</c:v>
                </c:pt>
                <c:pt idx="24">
                  <c:v>639.85777364168621</c:v>
                </c:pt>
                <c:pt idx="25">
                  <c:v>380.15926591688992</c:v>
                </c:pt>
                <c:pt idx="26">
                  <c:v>335.51715602641832</c:v>
                </c:pt>
                <c:pt idx="27">
                  <c:v>439.21140750849617</c:v>
                </c:pt>
                <c:pt idx="28">
                  <c:v>679.53445404915817</c:v>
                </c:pt>
                <c:pt idx="29">
                  <c:v>1493.0045888610362</c:v>
                </c:pt>
                <c:pt idx="30">
                  <c:v>2328.9640982616415</c:v>
                </c:pt>
                <c:pt idx="31">
                  <c:v>2147.2817452951617</c:v>
                </c:pt>
                <c:pt idx="32">
                  <c:v>1490.8444867695616</c:v>
                </c:pt>
                <c:pt idx="33">
                  <c:v>996.37748073932335</c:v>
                </c:pt>
                <c:pt idx="34">
                  <c:v>625.97140305363632</c:v>
                </c:pt>
                <c:pt idx="35">
                  <c:v>506.84785091816963</c:v>
                </c:pt>
                <c:pt idx="36">
                  <c:v>501.807612704729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D$2:$D$38</c:f>
              <c:numCache>
                <c:formatCode>General</c:formatCode>
                <c:ptCount val="37"/>
                <c:pt idx="0">
                  <c:v>23.156491357662905</c:v>
                </c:pt>
                <c:pt idx="1">
                  <c:v>37.881637218751642</c:v>
                </c:pt>
                <c:pt idx="2">
                  <c:v>75.204749788681596</c:v>
                </c:pt>
                <c:pt idx="3">
                  <c:v>181.43435546909117</c:v>
                </c:pt>
                <c:pt idx="4">
                  <c:v>226.51293929300525</c:v>
                </c:pt>
                <c:pt idx="5">
                  <c:v>234.70215841256362</c:v>
                </c:pt>
                <c:pt idx="6">
                  <c:v>246.3687876461953</c:v>
                </c:pt>
                <c:pt idx="7">
                  <c:v>221.9437323255172</c:v>
                </c:pt>
                <c:pt idx="8">
                  <c:v>185.58615438785876</c:v>
                </c:pt>
                <c:pt idx="9">
                  <c:v>141.55777515627699</c:v>
                </c:pt>
                <c:pt idx="10">
                  <c:v>104.76496391514847</c:v>
                </c:pt>
                <c:pt idx="11">
                  <c:v>75.831604580710206</c:v>
                </c:pt>
                <c:pt idx="12">
                  <c:v>58.890185379084343</c:v>
                </c:pt>
                <c:pt idx="13">
                  <c:v>49.687897614588763</c:v>
                </c:pt>
                <c:pt idx="14">
                  <c:v>43.355475864783322</c:v>
                </c:pt>
                <c:pt idx="15">
                  <c:v>48.607984264340445</c:v>
                </c:pt>
                <c:pt idx="16">
                  <c:v>53.426744798323284</c:v>
                </c:pt>
                <c:pt idx="17">
                  <c:v>59.011991286540137</c:v>
                </c:pt>
                <c:pt idx="18">
                  <c:v>73.218719321993859</c:v>
                </c:pt>
                <c:pt idx="19">
                  <c:v>100.66366988483814</c:v>
                </c:pt>
                <c:pt idx="20">
                  <c:v>181.05408336776577</c:v>
                </c:pt>
                <c:pt idx="21">
                  <c:v>293.45122719154676</c:v>
                </c:pt>
                <c:pt idx="22">
                  <c:v>432.75410762199573</c:v>
                </c:pt>
                <c:pt idx="23">
                  <c:v>505.67722480272494</c:v>
                </c:pt>
                <c:pt idx="24">
                  <c:v>541.42428776520865</c:v>
                </c:pt>
                <c:pt idx="25">
                  <c:v>774.87422203161088</c:v>
                </c:pt>
                <c:pt idx="26">
                  <c:v>1701.8825370376112</c:v>
                </c:pt>
                <c:pt idx="27">
                  <c:v>2592.5020799101417</c:v>
                </c:pt>
                <c:pt idx="28">
                  <c:v>3004.6041444667972</c:v>
                </c:pt>
                <c:pt idx="29">
                  <c:v>3687.1405760195426</c:v>
                </c:pt>
                <c:pt idx="30">
                  <c:v>3567.05777652288</c:v>
                </c:pt>
                <c:pt idx="31">
                  <c:v>2631.1606011483977</c:v>
                </c:pt>
                <c:pt idx="32">
                  <c:v>1491.2489288507334</c:v>
                </c:pt>
                <c:pt idx="33">
                  <c:v>887.49418153976217</c:v>
                </c:pt>
                <c:pt idx="34">
                  <c:v>613.77996766974127</c:v>
                </c:pt>
                <c:pt idx="35">
                  <c:v>538.6420625863708</c:v>
                </c:pt>
                <c:pt idx="36">
                  <c:v>654.210616317689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F$2:$F$38</c:f>
              <c:numCache>
                <c:formatCode>General</c:formatCode>
                <c:ptCount val="37"/>
                <c:pt idx="0">
                  <c:v>9.4497977649383937</c:v>
                </c:pt>
                <c:pt idx="1">
                  <c:v>14.791716799554029</c:v>
                </c:pt>
                <c:pt idx="2">
                  <c:v>31.635696279073386</c:v>
                </c:pt>
                <c:pt idx="3">
                  <c:v>52.510426969897203</c:v>
                </c:pt>
                <c:pt idx="4">
                  <c:v>64.419921917441101</c:v>
                </c:pt>
                <c:pt idx="5">
                  <c:v>71.39157896261743</c:v>
                </c:pt>
                <c:pt idx="6">
                  <c:v>72.436153839756656</c:v>
                </c:pt>
                <c:pt idx="7">
                  <c:v>76.091327567145868</c:v>
                </c:pt>
                <c:pt idx="8">
                  <c:v>77.291834167517763</c:v>
                </c:pt>
                <c:pt idx="9">
                  <c:v>67.097588175533119</c:v>
                </c:pt>
                <c:pt idx="10">
                  <c:v>55.41612241465203</c:v>
                </c:pt>
                <c:pt idx="11">
                  <c:v>48.486382499376944</c:v>
                </c:pt>
                <c:pt idx="12">
                  <c:v>39.710612183250689</c:v>
                </c:pt>
                <c:pt idx="13">
                  <c:v>35.074577616172149</c:v>
                </c:pt>
                <c:pt idx="14">
                  <c:v>30.284288011057004</c:v>
                </c:pt>
                <c:pt idx="15">
                  <c:v>30.059612194786286</c:v>
                </c:pt>
                <c:pt idx="16">
                  <c:v>42.708525313788279</c:v>
                </c:pt>
                <c:pt idx="17">
                  <c:v>53.999323423989694</c:v>
                </c:pt>
                <c:pt idx="18">
                  <c:v>65.402459442326446</c:v>
                </c:pt>
                <c:pt idx="19">
                  <c:v>90.492376716020232</c:v>
                </c:pt>
                <c:pt idx="20">
                  <c:v>116.12050993764609</c:v>
                </c:pt>
                <c:pt idx="21">
                  <c:v>145.01147255078544</c:v>
                </c:pt>
                <c:pt idx="22">
                  <c:v>175.65457119379715</c:v>
                </c:pt>
                <c:pt idx="23">
                  <c:v>207.07397508258012</c:v>
                </c:pt>
                <c:pt idx="24">
                  <c:v>290.47900347489656</c:v>
                </c:pt>
                <c:pt idx="25">
                  <c:v>495.69856473064522</c:v>
                </c:pt>
                <c:pt idx="26">
                  <c:v>1370.1787587861656</c:v>
                </c:pt>
                <c:pt idx="27">
                  <c:v>2017.6860778523837</c:v>
                </c:pt>
                <c:pt idx="28">
                  <c:v>2006.227611222577</c:v>
                </c:pt>
                <c:pt idx="29">
                  <c:v>1919.0416577131678</c:v>
                </c:pt>
                <c:pt idx="30">
                  <c:v>1521.6169656934112</c:v>
                </c:pt>
                <c:pt idx="31">
                  <c:v>1080.9555925231107</c:v>
                </c:pt>
                <c:pt idx="32">
                  <c:v>748.99539729793457</c:v>
                </c:pt>
                <c:pt idx="33">
                  <c:v>575.77704969399826</c:v>
                </c:pt>
                <c:pt idx="34">
                  <c:v>459.85438860948608</c:v>
                </c:pt>
                <c:pt idx="35">
                  <c:v>434.56494579746237</c:v>
                </c:pt>
                <c:pt idx="36">
                  <c:v>422.652097479526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K$2:$K$38</c:f>
              <c:numCache>
                <c:formatCode>General</c:formatCode>
                <c:ptCount val="37"/>
                <c:pt idx="0">
                  <c:v>2.2519004504415054</c:v>
                </c:pt>
                <c:pt idx="1">
                  <c:v>2.8353473853286228</c:v>
                </c:pt>
                <c:pt idx="2">
                  <c:v>3.3266711199704058</c:v>
                </c:pt>
                <c:pt idx="3">
                  <c:v>4.0738926330714511</c:v>
                </c:pt>
                <c:pt idx="4">
                  <c:v>3.9305898771342638</c:v>
                </c:pt>
                <c:pt idx="5">
                  <c:v>3.7361075655052254</c:v>
                </c:pt>
                <c:pt idx="6">
                  <c:v>5.0463041912166471</c:v>
                </c:pt>
                <c:pt idx="7">
                  <c:v>6.3155571723745858</c:v>
                </c:pt>
                <c:pt idx="8">
                  <c:v>11.32091771903775</c:v>
                </c:pt>
                <c:pt idx="9">
                  <c:v>14.954666173159271</c:v>
                </c:pt>
                <c:pt idx="10">
                  <c:v>19.622241652256211</c:v>
                </c:pt>
                <c:pt idx="11">
                  <c:v>26.87950264936088</c:v>
                </c:pt>
                <c:pt idx="12">
                  <c:v>31.004574838124185</c:v>
                </c:pt>
                <c:pt idx="13">
                  <c:v>37.013054676347657</c:v>
                </c:pt>
                <c:pt idx="14">
                  <c:v>46.89070892487517</c:v>
                </c:pt>
                <c:pt idx="15">
                  <c:v>70.955336011184158</c:v>
                </c:pt>
                <c:pt idx="16">
                  <c:v>144.56177300720628</c:v>
                </c:pt>
                <c:pt idx="17">
                  <c:v>246.85946892408086</c:v>
                </c:pt>
                <c:pt idx="18">
                  <c:v>362.02370514188715</c:v>
                </c:pt>
                <c:pt idx="19">
                  <c:v>520.46537365272377</c:v>
                </c:pt>
                <c:pt idx="20">
                  <c:v>663.8295450567407</c:v>
                </c:pt>
                <c:pt idx="21">
                  <c:v>726.96464495820987</c:v>
                </c:pt>
                <c:pt idx="22">
                  <c:v>622.84495685870525</c:v>
                </c:pt>
                <c:pt idx="23">
                  <c:v>423.4698797055251</c:v>
                </c:pt>
                <c:pt idx="24">
                  <c:v>301.5601780475327</c:v>
                </c:pt>
                <c:pt idx="25">
                  <c:v>173.18138055009015</c:v>
                </c:pt>
                <c:pt idx="26">
                  <c:v>173.60105290676333</c:v>
                </c:pt>
                <c:pt idx="27">
                  <c:v>361.64497642976738</c:v>
                </c:pt>
                <c:pt idx="28">
                  <c:v>518.12135000203693</c:v>
                </c:pt>
                <c:pt idx="29">
                  <c:v>953.51606618376354</c:v>
                </c:pt>
                <c:pt idx="30">
                  <c:v>1146.6165298091228</c:v>
                </c:pt>
                <c:pt idx="31">
                  <c:v>994.52112620407581</c:v>
                </c:pt>
                <c:pt idx="32">
                  <c:v>680.81092163529729</c:v>
                </c:pt>
                <c:pt idx="33">
                  <c:v>436.18288133938125</c:v>
                </c:pt>
                <c:pt idx="34">
                  <c:v>285.1622484038632</c:v>
                </c:pt>
                <c:pt idx="35">
                  <c:v>187.86991303365178</c:v>
                </c:pt>
                <c:pt idx="36">
                  <c:v>128.2559665637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E$2:$E$38</c:f>
              <c:numCache>
                <c:formatCode>General</c:formatCode>
                <c:ptCount val="37"/>
                <c:pt idx="0">
                  <c:v>5.2593158337113994</c:v>
                </c:pt>
                <c:pt idx="1">
                  <c:v>6.7094152611133069</c:v>
                </c:pt>
                <c:pt idx="2">
                  <c:v>10.946687551465153</c:v>
                </c:pt>
                <c:pt idx="3">
                  <c:v>15.192376670997607</c:v>
                </c:pt>
                <c:pt idx="4">
                  <c:v>18.650491060058872</c:v>
                </c:pt>
                <c:pt idx="5">
                  <c:v>24.550688315665148</c:v>
                </c:pt>
                <c:pt idx="6">
                  <c:v>38.558696880534328</c:v>
                </c:pt>
                <c:pt idx="7">
                  <c:v>59.687342932197957</c:v>
                </c:pt>
                <c:pt idx="8">
                  <c:v>79.796350248839346</c:v>
                </c:pt>
                <c:pt idx="9">
                  <c:v>89.837627461304805</c:v>
                </c:pt>
                <c:pt idx="10">
                  <c:v>86.17510436357162</c:v>
                </c:pt>
                <c:pt idx="11">
                  <c:v>73.898557801570391</c:v>
                </c:pt>
                <c:pt idx="12">
                  <c:v>64.456077865096773</c:v>
                </c:pt>
                <c:pt idx="13">
                  <c:v>67.921406679169991</c:v>
                </c:pt>
                <c:pt idx="14">
                  <c:v>69.743048994687314</c:v>
                </c:pt>
                <c:pt idx="15">
                  <c:v>78.579517230157151</c:v>
                </c:pt>
                <c:pt idx="16">
                  <c:v>117.50855459463823</c:v>
                </c:pt>
                <c:pt idx="17">
                  <c:v>164.76784803958401</c:v>
                </c:pt>
                <c:pt idx="18">
                  <c:v>213.88726073344418</c:v>
                </c:pt>
                <c:pt idx="19">
                  <c:v>326.20984614865915</c:v>
                </c:pt>
                <c:pt idx="20">
                  <c:v>422.92282064635214</c:v>
                </c:pt>
                <c:pt idx="21">
                  <c:v>484.99092383249348</c:v>
                </c:pt>
                <c:pt idx="22">
                  <c:v>466.88151464833089</c:v>
                </c:pt>
                <c:pt idx="23">
                  <c:v>406.66030426524861</c:v>
                </c:pt>
                <c:pt idx="24">
                  <c:v>328.9970190116091</c:v>
                </c:pt>
                <c:pt idx="25">
                  <c:v>233.19666927792778</c:v>
                </c:pt>
                <c:pt idx="26">
                  <c:v>250.98744135739599</c:v>
                </c:pt>
                <c:pt idx="27">
                  <c:v>406.57373116510519</c:v>
                </c:pt>
                <c:pt idx="28">
                  <c:v>584.45139185557071</c:v>
                </c:pt>
                <c:pt idx="29">
                  <c:v>957.17985048128207</c:v>
                </c:pt>
                <c:pt idx="30">
                  <c:v>1334.7864628192401</c:v>
                </c:pt>
                <c:pt idx="31">
                  <c:v>1549.8280315545965</c:v>
                </c:pt>
                <c:pt idx="32">
                  <c:v>1571.0817276398004</c:v>
                </c:pt>
                <c:pt idx="33">
                  <c:v>1430.8814015742428</c:v>
                </c:pt>
                <c:pt idx="34">
                  <c:v>1309.9303638447359</c:v>
                </c:pt>
                <c:pt idx="35">
                  <c:v>1349.0602027053828</c:v>
                </c:pt>
                <c:pt idx="36">
                  <c:v>1618.87368613146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G$2:$G$38</c:f>
              <c:numCache>
                <c:formatCode>General</c:formatCode>
                <c:ptCount val="37"/>
                <c:pt idx="0">
                  <c:v>33.393489102595218</c:v>
                </c:pt>
                <c:pt idx="1">
                  <c:v>224.6549420841547</c:v>
                </c:pt>
                <c:pt idx="2">
                  <c:v>402.73823163867939</c:v>
                </c:pt>
                <c:pt idx="3">
                  <c:v>258.36438541015309</c:v>
                </c:pt>
                <c:pt idx="4">
                  <c:v>140.14580425716721</c:v>
                </c:pt>
                <c:pt idx="5">
                  <c:v>103.60426216502749</c:v>
                </c:pt>
                <c:pt idx="6">
                  <c:v>92.557353590403252</c:v>
                </c:pt>
                <c:pt idx="7">
                  <c:v>97.187519118820902</c:v>
                </c:pt>
                <c:pt idx="8">
                  <c:v>102.42086998282646</c:v>
                </c:pt>
                <c:pt idx="9">
                  <c:v>101.43853957915471</c:v>
                </c:pt>
                <c:pt idx="10">
                  <c:v>96.027105425594641</c:v>
                </c:pt>
                <c:pt idx="11">
                  <c:v>80.545348478838392</c:v>
                </c:pt>
                <c:pt idx="12">
                  <c:v>66.706553493778728</c:v>
                </c:pt>
                <c:pt idx="13">
                  <c:v>66.310174558963809</c:v>
                </c:pt>
                <c:pt idx="14">
                  <c:v>92.677990657520837</c:v>
                </c:pt>
                <c:pt idx="15">
                  <c:v>135.17096139412791</c:v>
                </c:pt>
                <c:pt idx="16">
                  <c:v>200.08519274787398</c:v>
                </c:pt>
                <c:pt idx="17">
                  <c:v>284.12327155087854</c:v>
                </c:pt>
                <c:pt idx="18">
                  <c:v>395.89638654643937</c:v>
                </c:pt>
                <c:pt idx="19">
                  <c:v>538.63876005775649</c:v>
                </c:pt>
                <c:pt idx="20">
                  <c:v>844.24691880005184</c:v>
                </c:pt>
                <c:pt idx="21">
                  <c:v>902.64674852944847</c:v>
                </c:pt>
                <c:pt idx="22">
                  <c:v>874.15916682296836</c:v>
                </c:pt>
                <c:pt idx="23">
                  <c:v>738.17246907023571</c:v>
                </c:pt>
                <c:pt idx="24">
                  <c:v>572.63543449593953</c:v>
                </c:pt>
                <c:pt idx="25">
                  <c:v>489.19479640627918</c:v>
                </c:pt>
                <c:pt idx="26">
                  <c:v>578.51792767348252</c:v>
                </c:pt>
                <c:pt idx="27">
                  <c:v>1015.706658907597</c:v>
                </c:pt>
                <c:pt idx="28">
                  <c:v>1288.2085596594818</c:v>
                </c:pt>
                <c:pt idx="29">
                  <c:v>1829.535802927287</c:v>
                </c:pt>
                <c:pt idx="30">
                  <c:v>2448.4211911072098</c:v>
                </c:pt>
                <c:pt idx="31">
                  <c:v>3258.3669704901627</c:v>
                </c:pt>
                <c:pt idx="32">
                  <c:v>4919.9185297673403</c:v>
                </c:pt>
                <c:pt idx="33">
                  <c:v>1996.6238855073807</c:v>
                </c:pt>
                <c:pt idx="34">
                  <c:v>1441.3429548096419</c:v>
                </c:pt>
                <c:pt idx="35">
                  <c:v>2152.9982476029845</c:v>
                </c:pt>
                <c:pt idx="36">
                  <c:v>2646.5129999365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J$2:$J$38</c:f>
              <c:numCache>
                <c:formatCode>General</c:formatCode>
                <c:ptCount val="37"/>
                <c:pt idx="0">
                  <c:v>1.630743847340457</c:v>
                </c:pt>
                <c:pt idx="1">
                  <c:v>1.4753094580139838</c:v>
                </c:pt>
                <c:pt idx="2">
                  <c:v>1.6570886590907066</c:v>
                </c:pt>
                <c:pt idx="3">
                  <c:v>1.9442471071684286</c:v>
                </c:pt>
                <c:pt idx="4">
                  <c:v>2.3604951328223742</c:v>
                </c:pt>
                <c:pt idx="5">
                  <c:v>2.7451293843760198</c:v>
                </c:pt>
                <c:pt idx="6">
                  <c:v>3.4274600087074871</c:v>
                </c:pt>
                <c:pt idx="7">
                  <c:v>3.5565495862837109</c:v>
                </c:pt>
                <c:pt idx="8">
                  <c:v>4.2467836541402537</c:v>
                </c:pt>
                <c:pt idx="9">
                  <c:v>6.014520522582008</c:v>
                </c:pt>
                <c:pt idx="10">
                  <c:v>8.5646983000061798</c:v>
                </c:pt>
                <c:pt idx="11">
                  <c:v>11.539027546609372</c:v>
                </c:pt>
                <c:pt idx="12">
                  <c:v>14.115550135783794</c:v>
                </c:pt>
                <c:pt idx="13">
                  <c:v>20.801863357997171</c:v>
                </c:pt>
                <c:pt idx="14">
                  <c:v>30.970960693593558</c:v>
                </c:pt>
                <c:pt idx="15">
                  <c:v>46.946454538944984</c:v>
                </c:pt>
                <c:pt idx="16">
                  <c:v>91.564027719167896</c:v>
                </c:pt>
                <c:pt idx="17">
                  <c:v>142.98646577448031</c:v>
                </c:pt>
                <c:pt idx="18">
                  <c:v>214.39934698588218</c:v>
                </c:pt>
                <c:pt idx="19">
                  <c:v>269.99743770360914</c:v>
                </c:pt>
                <c:pt idx="20">
                  <c:v>378.62763447458883</c:v>
                </c:pt>
                <c:pt idx="21">
                  <c:v>430.01845875580096</c:v>
                </c:pt>
                <c:pt idx="22">
                  <c:v>431.23558905866247</c:v>
                </c:pt>
                <c:pt idx="23">
                  <c:v>408.2049546265942</c:v>
                </c:pt>
                <c:pt idx="24">
                  <c:v>339.38176841024182</c:v>
                </c:pt>
                <c:pt idx="25">
                  <c:v>227.70611140093331</c:v>
                </c:pt>
                <c:pt idx="26">
                  <c:v>208.07659216582223</c:v>
                </c:pt>
                <c:pt idx="27">
                  <c:v>229.57395855402601</c:v>
                </c:pt>
                <c:pt idx="28">
                  <c:v>270.0422238835846</c:v>
                </c:pt>
                <c:pt idx="29">
                  <c:v>589.70753517993955</c:v>
                </c:pt>
                <c:pt idx="30">
                  <c:v>892.54378073023497</c:v>
                </c:pt>
                <c:pt idx="31">
                  <c:v>884.62189583693487</c:v>
                </c:pt>
                <c:pt idx="32">
                  <c:v>599.29441217585543</c:v>
                </c:pt>
                <c:pt idx="33">
                  <c:v>391.15459246183252</c:v>
                </c:pt>
                <c:pt idx="34">
                  <c:v>273.0508013854631</c:v>
                </c:pt>
                <c:pt idx="35">
                  <c:v>211.50932113687981</c:v>
                </c:pt>
                <c:pt idx="36">
                  <c:v>201.90663725391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B$2:$B$38</c:f>
              <c:numCache>
                <c:formatCode>General</c:formatCode>
                <c:ptCount val="37"/>
                <c:pt idx="0">
                  <c:v>7.1115093656219077</c:v>
                </c:pt>
                <c:pt idx="1">
                  <c:v>12.279430863546201</c:v>
                </c:pt>
                <c:pt idx="2">
                  <c:v>24.637504010756469</c:v>
                </c:pt>
                <c:pt idx="3">
                  <c:v>28.457272074439636</c:v>
                </c:pt>
                <c:pt idx="4">
                  <c:v>36.523723455982342</c:v>
                </c:pt>
                <c:pt idx="5">
                  <c:v>41.19732202801822</c:v>
                </c:pt>
                <c:pt idx="6">
                  <c:v>66.295445128807074</c:v>
                </c:pt>
                <c:pt idx="7">
                  <c:v>90.607145392955275</c:v>
                </c:pt>
                <c:pt idx="8">
                  <c:v>106.00979837916006</c:v>
                </c:pt>
                <c:pt idx="9">
                  <c:v>127.01852272941751</c:v>
                </c:pt>
                <c:pt idx="10">
                  <c:v>157.95864404525122</c:v>
                </c:pt>
                <c:pt idx="11">
                  <c:v>154.45344511622432</c:v>
                </c:pt>
                <c:pt idx="12">
                  <c:v>132.15274039148579</c:v>
                </c:pt>
                <c:pt idx="13">
                  <c:v>141.48870292360553</c:v>
                </c:pt>
                <c:pt idx="14">
                  <c:v>143.62327919448731</c:v>
                </c:pt>
                <c:pt idx="15">
                  <c:v>172.56363958286335</c:v>
                </c:pt>
                <c:pt idx="16">
                  <c:v>268.00166811518261</c:v>
                </c:pt>
                <c:pt idx="17">
                  <c:v>388.4254736287707</c:v>
                </c:pt>
                <c:pt idx="18">
                  <c:v>634.7668099004793</c:v>
                </c:pt>
                <c:pt idx="19">
                  <c:v>885.54581789323174</c:v>
                </c:pt>
                <c:pt idx="20">
                  <c:v>1092.9255199153718</c:v>
                </c:pt>
                <c:pt idx="21">
                  <c:v>928.91142002798767</c:v>
                </c:pt>
                <c:pt idx="22">
                  <c:v>571.71816762580295</c:v>
                </c:pt>
                <c:pt idx="23">
                  <c:v>329.24153786558549</c:v>
                </c:pt>
                <c:pt idx="24">
                  <c:v>211.91848525075204</c:v>
                </c:pt>
                <c:pt idx="25">
                  <c:v>164.46348436546461</c:v>
                </c:pt>
                <c:pt idx="26">
                  <c:v>259.87904367387989</c:v>
                </c:pt>
                <c:pt idx="27">
                  <c:v>701.94978937349515</c:v>
                </c:pt>
                <c:pt idx="28">
                  <c:v>1249.1765029439177</c:v>
                </c:pt>
                <c:pt idx="29">
                  <c:v>1982.0214751854382</c:v>
                </c:pt>
                <c:pt idx="30">
                  <c:v>2552.6723546758003</c:v>
                </c:pt>
                <c:pt idx="31">
                  <c:v>2600.3969862479362</c:v>
                </c:pt>
                <c:pt idx="32">
                  <c:v>2431.9452146395083</c:v>
                </c:pt>
                <c:pt idx="33">
                  <c:v>2203.1860460726944</c:v>
                </c:pt>
                <c:pt idx="34">
                  <c:v>2087.8739889972703</c:v>
                </c:pt>
                <c:pt idx="35">
                  <c:v>2442.820319009053</c:v>
                </c:pt>
                <c:pt idx="36">
                  <c:v>3368.5523438546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L$2:$L$38</c:f>
              <c:numCache>
                <c:formatCode>General</c:formatCode>
                <c:ptCount val="37"/>
                <c:pt idx="0">
                  <c:v>4.1957737015866803</c:v>
                </c:pt>
                <c:pt idx="1">
                  <c:v>4.2873844810973063</c:v>
                </c:pt>
                <c:pt idx="2">
                  <c:v>3.9392635189569267</c:v>
                </c:pt>
                <c:pt idx="3">
                  <c:v>5.8264455768758268</c:v>
                </c:pt>
                <c:pt idx="4">
                  <c:v>7.6586611670883515</c:v>
                </c:pt>
                <c:pt idx="5">
                  <c:v>7.7319497906968531</c:v>
                </c:pt>
                <c:pt idx="6">
                  <c:v>10.406984552407136</c:v>
                </c:pt>
                <c:pt idx="7">
                  <c:v>12.40409954573879</c:v>
                </c:pt>
                <c:pt idx="8">
                  <c:v>15.042489995644823</c:v>
                </c:pt>
                <c:pt idx="9">
                  <c:v>31.330886592634162</c:v>
                </c:pt>
                <c:pt idx="10">
                  <c:v>56.249018619524492</c:v>
                </c:pt>
                <c:pt idx="11">
                  <c:v>90.236617817966817</c:v>
                </c:pt>
                <c:pt idx="12">
                  <c:v>120.21166487384372</c:v>
                </c:pt>
                <c:pt idx="13">
                  <c:v>160.53873001442136</c:v>
                </c:pt>
                <c:pt idx="14">
                  <c:v>200.55431850466289</c:v>
                </c:pt>
                <c:pt idx="15">
                  <c:v>246.34138610407391</c:v>
                </c:pt>
                <c:pt idx="16">
                  <c:v>411.64387665304781</c:v>
                </c:pt>
                <c:pt idx="17">
                  <c:v>601.75456629349935</c:v>
                </c:pt>
                <c:pt idx="18">
                  <c:v>790.76592657982337</c:v>
                </c:pt>
                <c:pt idx="19">
                  <c:v>941.9053906164545</c:v>
                </c:pt>
                <c:pt idx="20">
                  <c:v>1141.8550779763473</c:v>
                </c:pt>
                <c:pt idx="21">
                  <c:v>1176.4656304754617</c:v>
                </c:pt>
                <c:pt idx="22">
                  <c:v>1123.2764118915923</c:v>
                </c:pt>
                <c:pt idx="23">
                  <c:v>824.86345871367826</c:v>
                </c:pt>
                <c:pt idx="24">
                  <c:v>569.32435034673756</c:v>
                </c:pt>
                <c:pt idx="25">
                  <c:v>367.26761505810049</c:v>
                </c:pt>
                <c:pt idx="26">
                  <c:v>364.06123777522856</c:v>
                </c:pt>
                <c:pt idx="27">
                  <c:v>340.84706624723589</c:v>
                </c:pt>
                <c:pt idx="28">
                  <c:v>327.19706010015256</c:v>
                </c:pt>
                <c:pt idx="29">
                  <c:v>809.43620344408896</c:v>
                </c:pt>
                <c:pt idx="30">
                  <c:v>1789.011946595313</c:v>
                </c:pt>
                <c:pt idx="31">
                  <c:v>2441.2806967109714</c:v>
                </c:pt>
                <c:pt idx="32">
                  <c:v>2515.3754951791661</c:v>
                </c:pt>
                <c:pt idx="33">
                  <c:v>2262.4198107944248</c:v>
                </c:pt>
                <c:pt idx="34">
                  <c:v>1752.3676347910623</c:v>
                </c:pt>
                <c:pt idx="35">
                  <c:v>1373.9418267885676</c:v>
                </c:pt>
                <c:pt idx="36">
                  <c:v>1294.240448614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8</c:f>
              <c:numCache>
                <c:formatCode>General</c:formatCode>
                <c:ptCount val="37"/>
                <c:pt idx="0">
                  <c:v>166.4074585020806</c:v>
                </c:pt>
                <c:pt idx="1">
                  <c:v>285.07405063240327</c:v>
                </c:pt>
                <c:pt idx="2">
                  <c:v>372.358475701342</c:v>
                </c:pt>
                <c:pt idx="3">
                  <c:v>391.84187038560765</c:v>
                </c:pt>
                <c:pt idx="4">
                  <c:v>332.59096993882486</c:v>
                </c:pt>
                <c:pt idx="5">
                  <c:v>251.51790687072554</c:v>
                </c:pt>
                <c:pt idx="6">
                  <c:v>191.21699046665793</c:v>
                </c:pt>
                <c:pt idx="7">
                  <c:v>144.44374443380624</c:v>
                </c:pt>
                <c:pt idx="8">
                  <c:v>109.43405745560555</c:v>
                </c:pt>
                <c:pt idx="9">
                  <c:v>72.138420244442869</c:v>
                </c:pt>
                <c:pt idx="10">
                  <c:v>48.926095651509968</c:v>
                </c:pt>
                <c:pt idx="11">
                  <c:v>37.561838439770092</c:v>
                </c:pt>
                <c:pt idx="12">
                  <c:v>30.422997555131857</c:v>
                </c:pt>
                <c:pt idx="13">
                  <c:v>25.529965448348154</c:v>
                </c:pt>
                <c:pt idx="14">
                  <c:v>21.805260956008048</c:v>
                </c:pt>
                <c:pt idx="15">
                  <c:v>22.282733000970538</c:v>
                </c:pt>
                <c:pt idx="16">
                  <c:v>26.0306772831097</c:v>
                </c:pt>
                <c:pt idx="17">
                  <c:v>28.099018575225955</c:v>
                </c:pt>
                <c:pt idx="18">
                  <c:v>33.771639994359916</c:v>
                </c:pt>
                <c:pt idx="19">
                  <c:v>53.54447569703207</c:v>
                </c:pt>
                <c:pt idx="20">
                  <c:v>85.649188950350393</c:v>
                </c:pt>
                <c:pt idx="21">
                  <c:v>124.67513414746119</c:v>
                </c:pt>
                <c:pt idx="22">
                  <c:v>188.72610754183151</c:v>
                </c:pt>
                <c:pt idx="23">
                  <c:v>242.48819217970933</c:v>
                </c:pt>
                <c:pt idx="24">
                  <c:v>481.46717609976071</c:v>
                </c:pt>
                <c:pt idx="25">
                  <c:v>1030.0403015983863</c:v>
                </c:pt>
                <c:pt idx="26">
                  <c:v>1656.9272933035138</c:v>
                </c:pt>
                <c:pt idx="27">
                  <c:v>1864.040299992728</c:v>
                </c:pt>
                <c:pt idx="28">
                  <c:v>1996.3909028983692</c:v>
                </c:pt>
                <c:pt idx="29">
                  <c:v>1771.2459320332489</c:v>
                </c:pt>
                <c:pt idx="30">
                  <c:v>1309.8473707790574</c:v>
                </c:pt>
                <c:pt idx="31">
                  <c:v>800.45653088164534</c:v>
                </c:pt>
                <c:pt idx="32">
                  <c:v>509.66126654234648</c:v>
                </c:pt>
                <c:pt idx="33">
                  <c:v>329.67331996496114</c:v>
                </c:pt>
                <c:pt idx="34">
                  <c:v>244.76991699634419</c:v>
                </c:pt>
                <c:pt idx="35">
                  <c:v>228.32248394310102</c:v>
                </c:pt>
                <c:pt idx="36">
                  <c:v>198.567102167651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A50C-414A-BE02-F1C320178424}"/>
              </c:ext>
            </c:extLst>
          </c:dPt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H$2:$H$38</c:f>
              <c:numCache>
                <c:formatCode>General</c:formatCode>
                <c:ptCount val="37"/>
                <c:pt idx="0">
                  <c:v>278.56506264198623</c:v>
                </c:pt>
                <c:pt idx="1">
                  <c:v>345.2872069401609</c:v>
                </c:pt>
                <c:pt idx="2">
                  <c:v>497.83085810795717</c:v>
                </c:pt>
                <c:pt idx="3">
                  <c:v>333.86050159989304</c:v>
                </c:pt>
                <c:pt idx="4">
                  <c:v>270.80718631478879</c:v>
                </c:pt>
                <c:pt idx="5">
                  <c:v>290.36790744054247</c:v>
                </c:pt>
                <c:pt idx="6">
                  <c:v>305.50017416285425</c:v>
                </c:pt>
                <c:pt idx="7">
                  <c:v>351.36567935789117</c:v>
                </c:pt>
                <c:pt idx="8">
                  <c:v>353.67834930846101</c:v>
                </c:pt>
                <c:pt idx="9">
                  <c:v>393.02165506856812</c:v>
                </c:pt>
                <c:pt idx="10">
                  <c:v>337.5748787504906</c:v>
                </c:pt>
                <c:pt idx="11">
                  <c:v>312.88484962128121</c:v>
                </c:pt>
                <c:pt idx="12">
                  <c:v>359.53789680710935</c:v>
                </c:pt>
                <c:pt idx="13">
                  <c:v>341.99304809061988</c:v>
                </c:pt>
                <c:pt idx="14">
                  <c:v>389.10010735696017</c:v>
                </c:pt>
                <c:pt idx="15">
                  <c:v>466.76702831447079</c:v>
                </c:pt>
                <c:pt idx="16">
                  <c:v>467.67946035977184</c:v>
                </c:pt>
                <c:pt idx="17">
                  <c:v>414.75840173231023</c:v>
                </c:pt>
                <c:pt idx="18">
                  <c:v>353.81352442628338</c:v>
                </c:pt>
                <c:pt idx="19">
                  <c:v>405.78394934471146</c:v>
                </c:pt>
                <c:pt idx="20">
                  <c:v>439.61886905355658</c:v>
                </c:pt>
                <c:pt idx="21">
                  <c:v>442.42669133788888</c:v>
                </c:pt>
                <c:pt idx="22">
                  <c:v>502.5135005046954</c:v>
                </c:pt>
                <c:pt idx="23">
                  <c:v>565.43457926149506</c:v>
                </c:pt>
                <c:pt idx="24">
                  <c:v>998.31232396103997</c:v>
                </c:pt>
                <c:pt idx="25">
                  <c:v>1356.8202451421332</c:v>
                </c:pt>
                <c:pt idx="27">
                  <c:v>1745.714651232842</c:v>
                </c:pt>
                <c:pt idx="28">
                  <c:v>1011.2685651453633</c:v>
                </c:pt>
                <c:pt idx="29">
                  <c:v>1043.8163826453779</c:v>
                </c:pt>
                <c:pt idx="30">
                  <c:v>964.82268852054551</c:v>
                </c:pt>
                <c:pt idx="31">
                  <c:v>629.22254192606886</c:v>
                </c:pt>
                <c:pt idx="32">
                  <c:v>800.33073237305814</c:v>
                </c:pt>
                <c:pt idx="33">
                  <c:v>378.67105315801183</c:v>
                </c:pt>
                <c:pt idx="34">
                  <c:v>412.79689322912685</c:v>
                </c:pt>
                <c:pt idx="35">
                  <c:v>526.88910055549184</c:v>
                </c:pt>
                <c:pt idx="36">
                  <c:v>767.05708326212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1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8. vs. 7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A68-4805-8D52-B9B59E53E580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A68-4805-8D52-B9B59E53E580}"/>
              </c:ext>
            </c:extLst>
          </c:dPt>
          <c:cat>
            <c:strRef>
              <c:f>List1!$A$2:$A$32</c:f>
              <c:strCache>
                <c:ptCount val="31"/>
                <c:pt idx="0">
                  <c:v>Velká Británie</c:v>
                </c:pt>
                <c:pt idx="1">
                  <c:v>Malta</c:v>
                </c:pt>
                <c:pt idx="2">
                  <c:v>Irsko</c:v>
                </c:pt>
                <c:pt idx="3">
                  <c:v>Rakousko</c:v>
                </c:pt>
                <c:pt idx="4">
                  <c:v>Kypr</c:v>
                </c:pt>
                <c:pt idx="5">
                  <c:v>Řecko</c:v>
                </c:pt>
                <c:pt idx="6">
                  <c:v>Lucembursko</c:v>
                </c:pt>
                <c:pt idx="7">
                  <c:v>Nizozemsko</c:v>
                </c:pt>
                <c:pt idx="8">
                  <c:v>Francie</c:v>
                </c:pt>
                <c:pt idx="9">
                  <c:v>Slovinsko</c:v>
                </c:pt>
                <c:pt idx="10">
                  <c:v>Německo</c:v>
                </c:pt>
                <c:pt idx="11">
                  <c:v>Island</c:v>
                </c:pt>
                <c:pt idx="12">
                  <c:v>Finsko</c:v>
                </c:pt>
                <c:pt idx="13">
                  <c:v>Portugalsko</c:v>
                </c:pt>
                <c:pt idx="14">
                  <c:v>Chorvatsko</c:v>
                </c:pt>
                <c:pt idx="15">
                  <c:v>Česká republika</c:v>
                </c:pt>
                <c:pt idx="16">
                  <c:v>Itálie</c:v>
                </c:pt>
                <c:pt idx="17">
                  <c:v>Polsko</c:v>
                </c:pt>
                <c:pt idx="18">
                  <c:v>Slovensko</c:v>
                </c:pt>
                <c:pt idx="19">
                  <c:v>Bulharsko</c:v>
                </c:pt>
                <c:pt idx="20">
                  <c:v>Španělsko</c:v>
                </c:pt>
                <c:pt idx="21">
                  <c:v>Lichtenštejnsko</c:v>
                </c:pt>
                <c:pt idx="22">
                  <c:v>Belgie</c:v>
                </c:pt>
                <c:pt idx="23">
                  <c:v>Švédsko</c:v>
                </c:pt>
                <c:pt idx="24">
                  <c:v>Lotyšsko</c:v>
                </c:pt>
                <c:pt idx="25">
                  <c:v>Litva</c:v>
                </c:pt>
                <c:pt idx="26">
                  <c:v>Dánsko</c:v>
                </c:pt>
                <c:pt idx="27">
                  <c:v>Maďarsko</c:v>
                </c:pt>
                <c:pt idx="28">
                  <c:v>Estonsko</c:v>
                </c:pt>
                <c:pt idx="29">
                  <c:v>Norsko</c:v>
                </c:pt>
                <c:pt idx="30">
                  <c:v>Rumun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1.090120012571637</c:v>
                </c:pt>
                <c:pt idx="1">
                  <c:v>0.82417582417582413</c:v>
                </c:pt>
                <c:pt idx="2">
                  <c:v>0.76839554047503633</c:v>
                </c:pt>
                <c:pt idx="3">
                  <c:v>0.94766122575940681</c:v>
                </c:pt>
                <c:pt idx="4">
                  <c:v>0.85232364614005884</c:v>
                </c:pt>
                <c:pt idx="5">
                  <c:v>0.84574725629438352</c:v>
                </c:pt>
                <c:pt idx="6">
                  <c:v>1.3394370046460782</c:v>
                </c:pt>
                <c:pt idx="7">
                  <c:v>0.7218900691671174</c:v>
                </c:pt>
                <c:pt idx="8">
                  <c:v>0.69158759621934751</c:v>
                </c:pt>
                <c:pt idx="9">
                  <c:v>0.43781444604721531</c:v>
                </c:pt>
                <c:pt idx="10">
                  <c:v>0.9154709554569388</c:v>
                </c:pt>
                <c:pt idx="11">
                  <c:v>0.76713117586087753</c:v>
                </c:pt>
                <c:pt idx="12">
                  <c:v>0.70005430804467428</c:v>
                </c:pt>
                <c:pt idx="13">
                  <c:v>0.69788659430859146</c:v>
                </c:pt>
                <c:pt idx="14">
                  <c:v>0.57449457011632399</c:v>
                </c:pt>
                <c:pt idx="15">
                  <c:v>0.62824724078384264</c:v>
                </c:pt>
                <c:pt idx="16">
                  <c:v>0.79866745097582426</c:v>
                </c:pt>
                <c:pt idx="17">
                  <c:v>0.69806364707863278</c:v>
                </c:pt>
                <c:pt idx="18">
                  <c:v>0.77455458373825725</c:v>
                </c:pt>
                <c:pt idx="19">
                  <c:v>0.68693780519146752</c:v>
                </c:pt>
                <c:pt idx="20">
                  <c:v>0.74246201367571762</c:v>
                </c:pt>
                <c:pt idx="21">
                  <c:v>1.1317073170731706</c:v>
                </c:pt>
                <c:pt idx="22">
                  <c:v>0.70969583557994231</c:v>
                </c:pt>
                <c:pt idx="23">
                  <c:v>0.79751580849141823</c:v>
                </c:pt>
                <c:pt idx="24">
                  <c:v>0.94411930721012449</c:v>
                </c:pt>
                <c:pt idx="25">
                  <c:v>0.81233299461819275</c:v>
                </c:pt>
                <c:pt idx="26">
                  <c:v>0.63498119076420001</c:v>
                </c:pt>
                <c:pt idx="27">
                  <c:v>0.65376762959660195</c:v>
                </c:pt>
                <c:pt idx="28">
                  <c:v>0.80817553964168298</c:v>
                </c:pt>
                <c:pt idx="29">
                  <c:v>1.1232283003396979</c:v>
                </c:pt>
                <c:pt idx="30">
                  <c:v>0.631446623379462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10. vs. 9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Velká Británie</c:v>
                </c:pt>
                <c:pt idx="1">
                  <c:v>Malta</c:v>
                </c:pt>
                <c:pt idx="2">
                  <c:v>Irsko</c:v>
                </c:pt>
                <c:pt idx="3">
                  <c:v>Rakousko</c:v>
                </c:pt>
                <c:pt idx="4">
                  <c:v>Kypr</c:v>
                </c:pt>
                <c:pt idx="5">
                  <c:v>Řecko</c:v>
                </c:pt>
                <c:pt idx="6">
                  <c:v>Lucembursko</c:v>
                </c:pt>
                <c:pt idx="7">
                  <c:v>Nizozemsko</c:v>
                </c:pt>
                <c:pt idx="8">
                  <c:v>Francie</c:v>
                </c:pt>
                <c:pt idx="9">
                  <c:v>Slovinsko</c:v>
                </c:pt>
                <c:pt idx="10">
                  <c:v>Německo</c:v>
                </c:pt>
                <c:pt idx="11">
                  <c:v>Island</c:v>
                </c:pt>
                <c:pt idx="12">
                  <c:v>Finsko</c:v>
                </c:pt>
                <c:pt idx="13">
                  <c:v>Portugalsko</c:v>
                </c:pt>
                <c:pt idx="14">
                  <c:v>Chorvatsko</c:v>
                </c:pt>
                <c:pt idx="15">
                  <c:v>Česká republika</c:v>
                </c:pt>
                <c:pt idx="16">
                  <c:v>Itálie</c:v>
                </c:pt>
                <c:pt idx="17">
                  <c:v>Polsko</c:v>
                </c:pt>
                <c:pt idx="18">
                  <c:v>Slovensko</c:v>
                </c:pt>
                <c:pt idx="19">
                  <c:v>Bulharsko</c:v>
                </c:pt>
                <c:pt idx="20">
                  <c:v>Španělsko</c:v>
                </c:pt>
                <c:pt idx="21">
                  <c:v>Lichtenštejnsko</c:v>
                </c:pt>
                <c:pt idx="22">
                  <c:v>Belgie</c:v>
                </c:pt>
                <c:pt idx="23">
                  <c:v>Švédsko</c:v>
                </c:pt>
                <c:pt idx="24">
                  <c:v>Lotyšsko</c:v>
                </c:pt>
                <c:pt idx="25">
                  <c:v>Litva</c:v>
                </c:pt>
                <c:pt idx="26">
                  <c:v>Dánsko</c:v>
                </c:pt>
                <c:pt idx="27">
                  <c:v>Maďarsko</c:v>
                </c:pt>
                <c:pt idx="28">
                  <c:v>Estonsko</c:v>
                </c:pt>
                <c:pt idx="29">
                  <c:v>Norsko</c:v>
                </c:pt>
                <c:pt idx="30">
                  <c:v>Rumun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1.4558226436140547</c:v>
                </c:pt>
                <c:pt idx="1">
                  <c:v>1.4487951807228916</c:v>
                </c:pt>
                <c:pt idx="2">
                  <c:v>1.4090316782745451</c:v>
                </c:pt>
                <c:pt idx="3">
                  <c:v>1.3789603425359989</c:v>
                </c:pt>
                <c:pt idx="4">
                  <c:v>1.3080029368575623</c:v>
                </c:pt>
                <c:pt idx="5">
                  <c:v>1.2512649183113824</c:v>
                </c:pt>
                <c:pt idx="6">
                  <c:v>1.2371492934671309</c:v>
                </c:pt>
                <c:pt idx="7">
                  <c:v>1.2292220873300692</c:v>
                </c:pt>
                <c:pt idx="8">
                  <c:v>1.2145553824304014</c:v>
                </c:pt>
                <c:pt idx="9">
                  <c:v>1.2094231916162563</c:v>
                </c:pt>
                <c:pt idx="10">
                  <c:v>1.2000010695482675</c:v>
                </c:pt>
                <c:pt idx="11">
                  <c:v>1.1624741047647233</c:v>
                </c:pt>
                <c:pt idx="12">
                  <c:v>1.1295358761629601</c:v>
                </c:pt>
                <c:pt idx="13">
                  <c:v>1.0622532927526216</c:v>
                </c:pt>
                <c:pt idx="14">
                  <c:v>1.0353119584055459</c:v>
                </c:pt>
                <c:pt idx="15">
                  <c:v>0.99005571750119925</c:v>
                </c:pt>
                <c:pt idx="16">
                  <c:v>0.97258672510716448</c:v>
                </c:pt>
                <c:pt idx="17">
                  <c:v>0.95459924020676346</c:v>
                </c:pt>
                <c:pt idx="18">
                  <c:v>0.94199071851496241</c:v>
                </c:pt>
                <c:pt idx="19">
                  <c:v>0.87322320399538989</c:v>
                </c:pt>
                <c:pt idx="20">
                  <c:v>0.86967826706517015</c:v>
                </c:pt>
                <c:pt idx="21">
                  <c:v>0.86767169179229475</c:v>
                </c:pt>
                <c:pt idx="22">
                  <c:v>0.82778601266675655</c:v>
                </c:pt>
                <c:pt idx="23">
                  <c:v>0.80639757498404596</c:v>
                </c:pt>
                <c:pt idx="24">
                  <c:v>0.7839956952878776</c:v>
                </c:pt>
                <c:pt idx="25">
                  <c:v>0.77939198278181332</c:v>
                </c:pt>
                <c:pt idx="26">
                  <c:v>0.72559235351581208</c:v>
                </c:pt>
                <c:pt idx="27">
                  <c:v>0.6826849733028223</c:v>
                </c:pt>
                <c:pt idx="28">
                  <c:v>0.66088835957831593</c:v>
                </c:pt>
                <c:pt idx="29">
                  <c:v>0.65747564378937517</c:v>
                </c:pt>
                <c:pt idx="30">
                  <c:v>0.599927366186166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7552"/>
        <c:axId val="354365592"/>
      </c:barChart>
      <c:catAx>
        <c:axId val="35436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592"/>
        <c:crosses val="autoZero"/>
        <c:auto val="1"/>
        <c:lblAlgn val="ctr"/>
        <c:lblOffset val="100"/>
        <c:noMultiLvlLbl val="0"/>
      </c:catAx>
      <c:valAx>
        <c:axId val="35436559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179585351877881E-2"/>
          <c:y val="4.725786302175191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8-4C38-A27C-C7ACF4A14B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F32-8B10-320319D083D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43-4423-804C-AD52486F23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C8-4C38-A27C-C7ACF4A14BBE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4A1-454A-B56F-BAAB6C631BA8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4A1-454A-B56F-BAAB6C631BA8}"/>
              </c:ext>
            </c:extLst>
          </c:dPt>
          <c:dPt>
            <c:idx val="2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64A1-454A-B56F-BAAB6C631BA8}"/>
              </c:ext>
            </c:extLst>
          </c:dPt>
          <c:cat>
            <c:strRef>
              <c:f>List1!$A$2:$A$31</c:f>
              <c:strCache>
                <c:ptCount val="30"/>
                <c:pt idx="0">
                  <c:v>Island</c:v>
                </c:pt>
                <c:pt idx="1">
                  <c:v>Německo</c:v>
                </c:pt>
                <c:pt idx="2">
                  <c:v>Norsko</c:v>
                </c:pt>
                <c:pt idx="3">
                  <c:v>Lichtenštejnsko</c:v>
                </c:pt>
                <c:pt idx="4">
                  <c:v>Nizozemsko</c:v>
                </c:pt>
                <c:pt idx="5">
                  <c:v>Estonsko</c:v>
                </c:pt>
                <c:pt idx="6">
                  <c:v>Lotyšsko</c:v>
                </c:pt>
                <c:pt idx="7">
                  <c:v>Litva</c:v>
                </c:pt>
                <c:pt idx="8">
                  <c:v>Finsko</c:v>
                </c:pt>
                <c:pt idx="9">
                  <c:v>Irsko</c:v>
                </c:pt>
                <c:pt idx="10">
                  <c:v>Lucembursko</c:v>
                </c:pt>
                <c:pt idx="11">
                  <c:v>Slovensko</c:v>
                </c:pt>
                <c:pt idx="12">
                  <c:v>Švédsko</c:v>
                </c:pt>
                <c:pt idx="13">
                  <c:v>Francie</c:v>
                </c:pt>
                <c:pt idx="14">
                  <c:v>Česká republika</c:v>
                </c:pt>
                <c:pt idx="15">
                  <c:v>Portugalsko</c:v>
                </c:pt>
                <c:pt idx="16">
                  <c:v>Dánsko</c:v>
                </c:pt>
                <c:pt idx="17">
                  <c:v>Maďarsko</c:v>
                </c:pt>
                <c:pt idx="18">
                  <c:v>Belgie</c:v>
                </c:pt>
                <c:pt idx="19">
                  <c:v>Polsko</c:v>
                </c:pt>
                <c:pt idx="20">
                  <c:v>Slovinsko</c:v>
                </c:pt>
                <c:pt idx="21">
                  <c:v>Španělsko</c:v>
                </c:pt>
                <c:pt idx="22">
                  <c:v>Bulharsko</c:v>
                </c:pt>
                <c:pt idx="23">
                  <c:v>Chorvatsko</c:v>
                </c:pt>
                <c:pt idx="24">
                  <c:v>Itálie</c:v>
                </c:pt>
                <c:pt idx="25">
                  <c:v>Rumunsko</c:v>
                </c:pt>
                <c:pt idx="26">
                  <c:v>Malta</c:v>
                </c:pt>
                <c:pt idx="27">
                  <c:v>Kypr</c:v>
                </c:pt>
                <c:pt idx="28">
                  <c:v>Rakousko</c:v>
                </c:pt>
                <c:pt idx="29">
                  <c:v>Řec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66014382769586588</c:v>
                </c:pt>
                <c:pt idx="1">
                  <c:v>0.65865403473904627</c:v>
                </c:pt>
                <c:pt idx="2">
                  <c:v>0.56426929728745678</c:v>
                </c:pt>
                <c:pt idx="3">
                  <c:v>0.55376210578594487</c:v>
                </c:pt>
                <c:pt idx="4">
                  <c:v>0.50698233254143799</c:v>
                </c:pt>
                <c:pt idx="5">
                  <c:v>0.49767380385937088</c:v>
                </c:pt>
                <c:pt idx="6">
                  <c:v>0.45723967748132022</c:v>
                </c:pt>
                <c:pt idx="7">
                  <c:v>0.41688464762721161</c:v>
                </c:pt>
                <c:pt idx="8">
                  <c:v>0.39874234438124734</c:v>
                </c:pt>
                <c:pt idx="9">
                  <c:v>0.32184729167542125</c:v>
                </c:pt>
                <c:pt idx="10">
                  <c:v>0.31194494417316315</c:v>
                </c:pt>
                <c:pt idx="11">
                  <c:v>0.290326439311475</c:v>
                </c:pt>
                <c:pt idx="12">
                  <c:v>0.26653405680253295</c:v>
                </c:pt>
                <c:pt idx="13">
                  <c:v>0.22531139751084006</c:v>
                </c:pt>
                <c:pt idx="14">
                  <c:v>0.22526736990712798</c:v>
                </c:pt>
                <c:pt idx="15">
                  <c:v>0.20824017285574328</c:v>
                </c:pt>
                <c:pt idx="16">
                  <c:v>0.19460961102056201</c:v>
                </c:pt>
                <c:pt idx="17">
                  <c:v>0.18160435605837871</c:v>
                </c:pt>
                <c:pt idx="18">
                  <c:v>0.17304294392433942</c:v>
                </c:pt>
                <c:pt idx="19">
                  <c:v>0.16261658031088083</c:v>
                </c:pt>
                <c:pt idx="20">
                  <c:v>0.16131179357664052</c:v>
                </c:pt>
                <c:pt idx="21">
                  <c:v>0.15581781643143902</c:v>
                </c:pt>
                <c:pt idx="22">
                  <c:v>0.11965115651333193</c:v>
                </c:pt>
                <c:pt idx="23">
                  <c:v>0.1127499219931354</c:v>
                </c:pt>
                <c:pt idx="24">
                  <c:v>9.4280023973076388E-2</c:v>
                </c:pt>
                <c:pt idx="25">
                  <c:v>6.9491159354873155E-2</c:v>
                </c:pt>
                <c:pt idx="26">
                  <c:v>5.8075576826916206E-2</c:v>
                </c:pt>
                <c:pt idx="27">
                  <c:v>4.7770724835458078E-2</c:v>
                </c:pt>
                <c:pt idx="28">
                  <c:v>4.4386083778503595E-2</c:v>
                </c:pt>
                <c:pt idx="29">
                  <c:v>2.63332603704931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6768"/>
        <c:axId val="354367160"/>
      </c:barChart>
      <c:catAx>
        <c:axId val="35436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160"/>
        <c:crosses val="autoZero"/>
        <c:auto val="1"/>
        <c:lblAlgn val="ctr"/>
        <c:lblOffset val="100"/>
        <c:noMultiLvlLbl val="0"/>
      </c:catAx>
      <c:valAx>
        <c:axId val="35436716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9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7-4C08-8B8D-49B5CD9702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0-4FF7-B806-ED2F71D73D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0-4FF7-B806-ED2F71D73D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55-4A16-9A6E-E29737EBB7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F-4C58-AB71-BCAF2B9C94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55-4A16-9A6E-E29737EBB7F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F-4C58-AB71-BCAF2B9C94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F-4C58-AB71-BCAF2B9C9422}"/>
              </c:ext>
            </c:extLst>
          </c:dPt>
          <c:cat>
            <c:strRef>
              <c:f>List1!$A$2:$A$28</c:f>
              <c:strCache>
                <c:ptCount val="27"/>
                <c:pt idx="0">
                  <c:v>Island</c:v>
                </c:pt>
                <c:pt idx="1">
                  <c:v>Německo</c:v>
                </c:pt>
                <c:pt idx="2">
                  <c:v>Norsko</c:v>
                </c:pt>
                <c:pt idx="3">
                  <c:v>Lichtenštejnsko</c:v>
                </c:pt>
                <c:pt idx="4">
                  <c:v>Nizozemsko</c:v>
                </c:pt>
                <c:pt idx="5">
                  <c:v>Lotyšsko</c:v>
                </c:pt>
                <c:pt idx="6">
                  <c:v>Estonsko</c:v>
                </c:pt>
                <c:pt idx="7">
                  <c:v>Finsko</c:v>
                </c:pt>
                <c:pt idx="8">
                  <c:v>Litva</c:v>
                </c:pt>
                <c:pt idx="9">
                  <c:v>Irsko</c:v>
                </c:pt>
                <c:pt idx="10">
                  <c:v>Lucembursko</c:v>
                </c:pt>
                <c:pt idx="11">
                  <c:v>Slovensko</c:v>
                </c:pt>
                <c:pt idx="12">
                  <c:v>Švédsko</c:v>
                </c:pt>
                <c:pt idx="13">
                  <c:v>Francie</c:v>
                </c:pt>
                <c:pt idx="14">
                  <c:v>Česká republika</c:v>
                </c:pt>
                <c:pt idx="15">
                  <c:v>Portugalsko</c:v>
                </c:pt>
                <c:pt idx="16">
                  <c:v>Dánsko</c:v>
                </c:pt>
                <c:pt idx="17">
                  <c:v>Slovinsko</c:v>
                </c:pt>
                <c:pt idx="18">
                  <c:v>Maďarsko</c:v>
                </c:pt>
                <c:pt idx="19">
                  <c:v>Polsko</c:v>
                </c:pt>
                <c:pt idx="20">
                  <c:v>Belgie</c:v>
                </c:pt>
                <c:pt idx="21">
                  <c:v>Španělsko</c:v>
                </c:pt>
                <c:pt idx="22">
                  <c:v>Chorvatsko</c:v>
                </c:pt>
                <c:pt idx="23">
                  <c:v>Bulharsko</c:v>
                </c:pt>
                <c:pt idx="24">
                  <c:v>Itálie</c:v>
                </c:pt>
                <c:pt idx="25">
                  <c:v>Malta</c:v>
                </c:pt>
                <c:pt idx="26">
                  <c:v>Kypr</c:v>
                </c:pt>
              </c:strCache>
            </c:strRef>
          </c:cat>
          <c:val>
            <c:numRef>
              <c:f>List1!$B$2:$B$28</c:f>
              <c:numCache>
                <c:formatCode>0.0%</c:formatCode>
                <c:ptCount val="27"/>
                <c:pt idx="0">
                  <c:v>0.60666451219074291</c:v>
                </c:pt>
                <c:pt idx="1">
                  <c:v>0.60727691564084374</c:v>
                </c:pt>
                <c:pt idx="2">
                  <c:v>0.57783335425498017</c:v>
                </c:pt>
                <c:pt idx="3">
                  <c:v>0.60060362173038229</c:v>
                </c:pt>
                <c:pt idx="4">
                  <c:v>0.52792419448897199</c:v>
                </c:pt>
                <c:pt idx="5">
                  <c:v>0.46683293560368183</c:v>
                </c:pt>
                <c:pt idx="6">
                  <c:v>0.54799255517149692</c:v>
                </c:pt>
                <c:pt idx="7">
                  <c:v>0.38667390947851754</c:v>
                </c:pt>
                <c:pt idx="8">
                  <c:v>0.45095541401273886</c:v>
                </c:pt>
                <c:pt idx="9">
                  <c:v>0.29271340260423517</c:v>
                </c:pt>
                <c:pt idx="10">
                  <c:v>0.28445764884073166</c:v>
                </c:pt>
                <c:pt idx="11">
                  <c:v>0.28242684915616184</c:v>
                </c:pt>
                <c:pt idx="12">
                  <c:v>0.27785535385774762</c:v>
                </c:pt>
                <c:pt idx="13">
                  <c:v>0.20348228750420164</c:v>
                </c:pt>
                <c:pt idx="14">
                  <c:v>0.2128231002705345</c:v>
                </c:pt>
                <c:pt idx="15">
                  <c:v>0.20109580254172735</c:v>
                </c:pt>
                <c:pt idx="16">
                  <c:v>0.18240770342108342</c:v>
                </c:pt>
                <c:pt idx="17">
                  <c:v>0.14510007541198433</c:v>
                </c:pt>
                <c:pt idx="18">
                  <c:v>0.19537587021779396</c:v>
                </c:pt>
                <c:pt idx="19">
                  <c:v>0.16463584687441044</c:v>
                </c:pt>
                <c:pt idx="20">
                  <c:v>0.19507642968862951</c:v>
                </c:pt>
                <c:pt idx="21">
                  <c:v>0.16220203699979288</c:v>
                </c:pt>
                <c:pt idx="22">
                  <c:v>0.10406826661857041</c:v>
                </c:pt>
                <c:pt idx="23">
                  <c:v>0.12404098165356207</c:v>
                </c:pt>
                <c:pt idx="24">
                  <c:v>9.808036746505347E-2</c:v>
                </c:pt>
                <c:pt idx="25">
                  <c:v>5.1911500273629896E-2</c:v>
                </c:pt>
                <c:pt idx="26">
                  <c:v>3.865683121837135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10. týd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:$A$28</c:f>
              <c:strCache>
                <c:ptCount val="27"/>
                <c:pt idx="0">
                  <c:v>Island</c:v>
                </c:pt>
                <c:pt idx="1">
                  <c:v>Německo</c:v>
                </c:pt>
                <c:pt idx="2">
                  <c:v>Norsko</c:v>
                </c:pt>
                <c:pt idx="3">
                  <c:v>Lichtenštejnsko</c:v>
                </c:pt>
                <c:pt idx="4">
                  <c:v>Nizozemsko</c:v>
                </c:pt>
                <c:pt idx="5">
                  <c:v>Lotyšsko</c:v>
                </c:pt>
                <c:pt idx="6">
                  <c:v>Estonsko</c:v>
                </c:pt>
                <c:pt idx="7">
                  <c:v>Finsko</c:v>
                </c:pt>
                <c:pt idx="8">
                  <c:v>Litva</c:v>
                </c:pt>
                <c:pt idx="9">
                  <c:v>Irsko</c:v>
                </c:pt>
                <c:pt idx="10">
                  <c:v>Lucembursko</c:v>
                </c:pt>
                <c:pt idx="11">
                  <c:v>Slovensko</c:v>
                </c:pt>
                <c:pt idx="12">
                  <c:v>Švédsko</c:v>
                </c:pt>
                <c:pt idx="13">
                  <c:v>Francie</c:v>
                </c:pt>
                <c:pt idx="14">
                  <c:v>Česká republika</c:v>
                </c:pt>
                <c:pt idx="15">
                  <c:v>Portugalsko</c:v>
                </c:pt>
                <c:pt idx="16">
                  <c:v>Dánsko</c:v>
                </c:pt>
                <c:pt idx="17">
                  <c:v>Slovinsko</c:v>
                </c:pt>
                <c:pt idx="18">
                  <c:v>Maďarsko</c:v>
                </c:pt>
                <c:pt idx="19">
                  <c:v>Polsko</c:v>
                </c:pt>
                <c:pt idx="20">
                  <c:v>Belgie</c:v>
                </c:pt>
                <c:pt idx="21">
                  <c:v>Španělsko</c:v>
                </c:pt>
                <c:pt idx="22">
                  <c:v>Chorvatsko</c:v>
                </c:pt>
                <c:pt idx="23">
                  <c:v>Bulharsko</c:v>
                </c:pt>
                <c:pt idx="24">
                  <c:v>Itálie</c:v>
                </c:pt>
                <c:pt idx="25">
                  <c:v>Malta</c:v>
                </c:pt>
                <c:pt idx="26">
                  <c:v>Kypr</c:v>
                </c:pt>
              </c:strCache>
            </c:strRef>
          </c:cat>
          <c:val>
            <c:numRef>
              <c:f>List1!$C$2:$C$28</c:f>
              <c:numCache>
                <c:formatCode>0.0%</c:formatCode>
                <c:ptCount val="27"/>
                <c:pt idx="0">
                  <c:v>0.71431169303509734</c:v>
                </c:pt>
                <c:pt idx="1">
                  <c:v>0.70861263157894738</c:v>
                </c:pt>
                <c:pt idx="2">
                  <c:v>0.54481755867894477</c:v>
                </c:pt>
                <c:pt idx="3">
                  <c:v>0.5080922020598333</c:v>
                </c:pt>
                <c:pt idx="4">
                  <c:v>0.49113294663350471</c:v>
                </c:pt>
                <c:pt idx="5">
                  <c:v>0.44556088290866197</c:v>
                </c:pt>
                <c:pt idx="6">
                  <c:v>0.43696229111376828</c:v>
                </c:pt>
                <c:pt idx="7">
                  <c:v>0.41007332704632499</c:v>
                </c:pt>
                <c:pt idx="8">
                  <c:v>0.38004407829144149</c:v>
                </c:pt>
                <c:pt idx="9">
                  <c:v>0.34630973285182609</c:v>
                </c:pt>
                <c:pt idx="10">
                  <c:v>0.33837450288466925</c:v>
                </c:pt>
                <c:pt idx="11">
                  <c:v>0.29921086406784114</c:v>
                </c:pt>
                <c:pt idx="12">
                  <c:v>0.25371448649733963</c:v>
                </c:pt>
                <c:pt idx="13">
                  <c:v>0.24714050751747849</c:v>
                </c:pt>
                <c:pt idx="14">
                  <c:v>0.23940664733437431</c:v>
                </c:pt>
                <c:pt idx="15">
                  <c:v>0.21544578475638521</c:v>
                </c:pt>
                <c:pt idx="16">
                  <c:v>0.21437302638280534</c:v>
                </c:pt>
                <c:pt idx="17">
                  <c:v>0.17773075574698252</c:v>
                </c:pt>
                <c:pt idx="18">
                  <c:v>0.16460851287440884</c:v>
                </c:pt>
                <c:pt idx="19">
                  <c:v>0.16055372600283233</c:v>
                </c:pt>
                <c:pt idx="20">
                  <c:v>0.15226677462798788</c:v>
                </c:pt>
                <c:pt idx="21">
                  <c:v>0.14907118975263448</c:v>
                </c:pt>
                <c:pt idx="22">
                  <c:v>0.12263122105182125</c:v>
                </c:pt>
                <c:pt idx="23">
                  <c:v>0.11499079264220814</c:v>
                </c:pt>
                <c:pt idx="24">
                  <c:v>9.0667873288845138E-2</c:v>
                </c:pt>
                <c:pt idx="25">
                  <c:v>6.3260340632603412E-2</c:v>
                </c:pt>
                <c:pt idx="26">
                  <c:v>5.827456265455925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DCA-49BB-91DA-A5CFB3695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04824"/>
        <c:axId val="359794704"/>
      </c:barChart>
      <c:catAx>
        <c:axId val="29990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704"/>
        <c:crosses val="autoZero"/>
        <c:auto val="1"/>
        <c:lblAlgn val="ctr"/>
        <c:lblOffset val="100"/>
        <c:noMultiLvlLbl val="0"/>
      </c:catAx>
      <c:valAx>
        <c:axId val="3597947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990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H$2:$H$38</c:f>
              <c:numCache>
                <c:formatCode>0.0%</c:formatCode>
                <c:ptCount val="37"/>
                <c:pt idx="0">
                  <c:v>8.9867693557789119E-3</c:v>
                </c:pt>
                <c:pt idx="1">
                  <c:v>1.7590892914005282E-2</c:v>
                </c:pt>
                <c:pt idx="2">
                  <c:v>1.8972151244295528E-2</c:v>
                </c:pt>
                <c:pt idx="3">
                  <c:v>2.4622415215268364E-2</c:v>
                </c:pt>
                <c:pt idx="4">
                  <c:v>2.9400039085401602E-2</c:v>
                </c:pt>
                <c:pt idx="5">
                  <c:v>3.4785030105162061E-2</c:v>
                </c:pt>
                <c:pt idx="6">
                  <c:v>3.7961907307212252E-2</c:v>
                </c:pt>
                <c:pt idx="7">
                  <c:v>4.5126053436085833E-2</c:v>
                </c:pt>
                <c:pt idx="8">
                  <c:v>4.9234933224511432E-2</c:v>
                </c:pt>
                <c:pt idx="9">
                  <c:v>4.8767781581577324E-2</c:v>
                </c:pt>
                <c:pt idx="10">
                  <c:v>4.6002373668990189E-2</c:v>
                </c:pt>
                <c:pt idx="11">
                  <c:v>4.3773039436560086E-2</c:v>
                </c:pt>
                <c:pt idx="12">
                  <c:v>4.1042621530910532E-2</c:v>
                </c:pt>
                <c:pt idx="13">
                  <c:v>4.2871446830841944E-2</c:v>
                </c:pt>
                <c:pt idx="14">
                  <c:v>4.7695759737644554E-2</c:v>
                </c:pt>
                <c:pt idx="15">
                  <c:v>6.4971478569155944E-2</c:v>
                </c:pt>
                <c:pt idx="16">
                  <c:v>8.513971427111891E-2</c:v>
                </c:pt>
                <c:pt idx="17">
                  <c:v>9.2231106864128914E-2</c:v>
                </c:pt>
                <c:pt idx="18">
                  <c:v>0.11053915290717456</c:v>
                </c:pt>
                <c:pt idx="19">
                  <c:v>0.13001104449909845</c:v>
                </c:pt>
                <c:pt idx="20">
                  <c:v>0.14918011582909665</c:v>
                </c:pt>
                <c:pt idx="21">
                  <c:v>0.15018060024955671</c:v>
                </c:pt>
                <c:pt idx="22">
                  <c:v>0.15328191533145796</c:v>
                </c:pt>
                <c:pt idx="23">
                  <c:v>0.14208313349320545</c:v>
                </c:pt>
                <c:pt idx="24">
                  <c:v>0.11158259972570303</c:v>
                </c:pt>
                <c:pt idx="25">
                  <c:v>0.10078891676861121</c:v>
                </c:pt>
                <c:pt idx="26">
                  <c:v>0.16588295703197409</c:v>
                </c:pt>
                <c:pt idx="27">
                  <c:v>0.25704743061480095</c:v>
                </c:pt>
                <c:pt idx="28">
                  <c:v>0.32831929899339335</c:v>
                </c:pt>
                <c:pt idx="29">
                  <c:v>0.43328046494604094</c:v>
                </c:pt>
                <c:pt idx="30">
                  <c:v>0.41114799118319645</c:v>
                </c:pt>
                <c:pt idx="31">
                  <c:v>0.34848527515107824</c:v>
                </c:pt>
                <c:pt idx="32">
                  <c:v>0.2704093448937705</c:v>
                </c:pt>
                <c:pt idx="33">
                  <c:v>0.208257923035259</c:v>
                </c:pt>
                <c:pt idx="34">
                  <c:v>0.16973246049866875</c:v>
                </c:pt>
                <c:pt idx="35">
                  <c:v>0.19507642968862951</c:v>
                </c:pt>
                <c:pt idx="36">
                  <c:v>0.15226677462798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C$2:$C$38</c:f>
              <c:numCache>
                <c:formatCode>0.0%</c:formatCode>
                <c:ptCount val="37"/>
                <c:pt idx="0">
                  <c:v>1.1517058156047645E-3</c:v>
                </c:pt>
                <c:pt idx="1">
                  <c:v>2.5317255698706067E-3</c:v>
                </c:pt>
                <c:pt idx="2">
                  <c:v>2.2194270819700136E-3</c:v>
                </c:pt>
                <c:pt idx="3">
                  <c:v>1.8728172958068549E-3</c:v>
                </c:pt>
                <c:pt idx="4">
                  <c:v>1.5770761194128669E-3</c:v>
                </c:pt>
                <c:pt idx="5">
                  <c:v>1.6438917737086635E-3</c:v>
                </c:pt>
                <c:pt idx="6">
                  <c:v>1.7273342910188042E-3</c:v>
                </c:pt>
                <c:pt idx="7">
                  <c:v>1.931985790556121E-3</c:v>
                </c:pt>
                <c:pt idx="8">
                  <c:v>2.339778359177249E-3</c:v>
                </c:pt>
                <c:pt idx="9">
                  <c:v>3.1286782447349348E-3</c:v>
                </c:pt>
                <c:pt idx="10">
                  <c:v>4.9506360086636128E-3</c:v>
                </c:pt>
                <c:pt idx="11">
                  <c:v>6.069964746751976E-3</c:v>
                </c:pt>
                <c:pt idx="12">
                  <c:v>6.3731746047209423E-3</c:v>
                </c:pt>
                <c:pt idx="13">
                  <c:v>9.8494057561632573E-3</c:v>
                </c:pt>
                <c:pt idx="14">
                  <c:v>1.3399795603918858E-2</c:v>
                </c:pt>
                <c:pt idx="15">
                  <c:v>1.9520761849138944E-2</c:v>
                </c:pt>
                <c:pt idx="16">
                  <c:v>3.6602253361266719E-2</c:v>
                </c:pt>
                <c:pt idx="17">
                  <c:v>4.8995597373232259E-2</c:v>
                </c:pt>
                <c:pt idx="18">
                  <c:v>8.8419311000771134E-2</c:v>
                </c:pt>
                <c:pt idx="19">
                  <c:v>0.10899667932024398</c:v>
                </c:pt>
                <c:pt idx="20">
                  <c:v>0.13501847864592101</c:v>
                </c:pt>
                <c:pt idx="21">
                  <c:v>0.16106380847440649</c:v>
                </c:pt>
                <c:pt idx="22">
                  <c:v>0.1452800028440219</c:v>
                </c:pt>
                <c:pt idx="23">
                  <c:v>0.13000785378000579</c:v>
                </c:pt>
                <c:pt idx="24">
                  <c:v>0.10551410098056904</c:v>
                </c:pt>
                <c:pt idx="25">
                  <c:v>8.2783533704753526E-2</c:v>
                </c:pt>
                <c:pt idx="26">
                  <c:v>9.8835896051522487E-2</c:v>
                </c:pt>
                <c:pt idx="27">
                  <c:v>8.7951987716045912E-2</c:v>
                </c:pt>
                <c:pt idx="28">
                  <c:v>0.12136886320553825</c:v>
                </c:pt>
                <c:pt idx="29">
                  <c:v>0.18227431621872781</c:v>
                </c:pt>
                <c:pt idx="30">
                  <c:v>0.23272490099814797</c:v>
                </c:pt>
                <c:pt idx="31">
                  <c:v>0.2396382087010244</c:v>
                </c:pt>
                <c:pt idx="32">
                  <c:v>0.22865280857301029</c:v>
                </c:pt>
                <c:pt idx="33">
                  <c:v>0.2024868067736314</c:v>
                </c:pt>
                <c:pt idx="34">
                  <c:v>0.21188353226791756</c:v>
                </c:pt>
                <c:pt idx="35">
                  <c:v>0.2128231002705345</c:v>
                </c:pt>
                <c:pt idx="36">
                  <c:v>0.239406647334374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D$2:$D$38</c:f>
              <c:numCache>
                <c:formatCode>0.0%</c:formatCode>
                <c:ptCount val="37"/>
                <c:pt idx="0">
                  <c:v>8.7743639303792011E-3</c:v>
                </c:pt>
                <c:pt idx="1">
                  <c:v>1.2407202619028043E-2</c:v>
                </c:pt>
                <c:pt idx="2">
                  <c:v>2.3378893884813186E-2</c:v>
                </c:pt>
                <c:pt idx="3">
                  <c:v>4.2076159564349735E-2</c:v>
                </c:pt>
                <c:pt idx="4">
                  <c:v>4.2618263732455378E-2</c:v>
                </c:pt>
                <c:pt idx="5">
                  <c:v>4.3305743173333432E-2</c:v>
                </c:pt>
                <c:pt idx="6">
                  <c:v>3.5691828298066018E-2</c:v>
                </c:pt>
                <c:pt idx="7">
                  <c:v>3.1057260114972538E-2</c:v>
                </c:pt>
                <c:pt idx="8">
                  <c:v>2.8494347519878557E-2</c:v>
                </c:pt>
                <c:pt idx="9">
                  <c:v>2.4630632269883723E-2</c:v>
                </c:pt>
                <c:pt idx="10">
                  <c:v>1.9954781460228933E-2</c:v>
                </c:pt>
                <c:pt idx="11">
                  <c:v>1.4879269519677944E-2</c:v>
                </c:pt>
                <c:pt idx="12">
                  <c:v>1.2461365680182484E-2</c:v>
                </c:pt>
                <c:pt idx="13">
                  <c:v>1.0940178320000707E-2</c:v>
                </c:pt>
                <c:pt idx="14">
                  <c:v>1.0219963646944673E-2</c:v>
                </c:pt>
                <c:pt idx="15">
                  <c:v>1.1529827699139957E-2</c:v>
                </c:pt>
                <c:pt idx="16">
                  <c:v>1.7536007395283458E-2</c:v>
                </c:pt>
                <c:pt idx="17">
                  <c:v>2.1321999384926842E-2</c:v>
                </c:pt>
                <c:pt idx="18">
                  <c:v>2.9361010393789341E-2</c:v>
                </c:pt>
                <c:pt idx="19">
                  <c:v>3.610796744224707E-2</c:v>
                </c:pt>
                <c:pt idx="20">
                  <c:v>4.7830374559951212E-2</c:v>
                </c:pt>
                <c:pt idx="21">
                  <c:v>5.6620310421184351E-2</c:v>
                </c:pt>
                <c:pt idx="22">
                  <c:v>6.4567926298003023E-2</c:v>
                </c:pt>
                <c:pt idx="23">
                  <c:v>6.6628787641547255E-2</c:v>
                </c:pt>
                <c:pt idx="24">
                  <c:v>6.7942473851072646E-2</c:v>
                </c:pt>
                <c:pt idx="25">
                  <c:v>8.3196439462180929E-2</c:v>
                </c:pt>
                <c:pt idx="26">
                  <c:v>0.16929061897830538</c:v>
                </c:pt>
                <c:pt idx="27">
                  <c:v>0.20191556692272886</c:v>
                </c:pt>
                <c:pt idx="28">
                  <c:v>0.22901896117841777</c:v>
                </c:pt>
                <c:pt idx="29">
                  <c:v>0.31210067829523158</c:v>
                </c:pt>
                <c:pt idx="30">
                  <c:v>0.34234847520375028</c:v>
                </c:pt>
                <c:pt idx="31">
                  <c:v>0.33387090359491628</c:v>
                </c:pt>
                <c:pt idx="32">
                  <c:v>0.28941657268452214</c:v>
                </c:pt>
                <c:pt idx="33">
                  <c:v>0.24508426908678613</c:v>
                </c:pt>
                <c:pt idx="34">
                  <c:v>0.20902737553528114</c:v>
                </c:pt>
                <c:pt idx="35">
                  <c:v>0.20348228750420164</c:v>
                </c:pt>
                <c:pt idx="36">
                  <c:v>0.247140507517478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F$2:$F$38</c:f>
              <c:numCache>
                <c:formatCode>0.0%</c:formatCode>
                <c:ptCount val="37"/>
                <c:pt idx="0">
                  <c:v>4.6617385902790014E-3</c:v>
                </c:pt>
                <c:pt idx="1">
                  <c:v>7.549365680422737E-3</c:v>
                </c:pt>
                <c:pt idx="2">
                  <c:v>1.4702685180351015E-2</c:v>
                </c:pt>
                <c:pt idx="3">
                  <c:v>2.1810923708428107E-2</c:v>
                </c:pt>
                <c:pt idx="4">
                  <c:v>2.5898783018066661E-2</c:v>
                </c:pt>
                <c:pt idx="5">
                  <c:v>2.9104930592201501E-2</c:v>
                </c:pt>
                <c:pt idx="6">
                  <c:v>3.0168994413407823E-2</c:v>
                </c:pt>
                <c:pt idx="7">
                  <c:v>3.2497864243971011E-2</c:v>
                </c:pt>
                <c:pt idx="8">
                  <c:v>2.8545261683475664E-2</c:v>
                </c:pt>
                <c:pt idx="9">
                  <c:v>2.1042945107875462E-2</c:v>
                </c:pt>
                <c:pt idx="10">
                  <c:v>1.7090927706787506E-2</c:v>
                </c:pt>
                <c:pt idx="11">
                  <c:v>1.4704162501385603E-2</c:v>
                </c:pt>
                <c:pt idx="12">
                  <c:v>1.1971519873511522E-2</c:v>
                </c:pt>
                <c:pt idx="13">
                  <c:v>1.0448450763317791E-2</c:v>
                </c:pt>
                <c:pt idx="14">
                  <c:v>9.3575601335402891E-3</c:v>
                </c:pt>
                <c:pt idx="15">
                  <c:v>7.4910717606066065E-3</c:v>
                </c:pt>
                <c:pt idx="16">
                  <c:v>7.6615145748343671E-3</c:v>
                </c:pt>
                <c:pt idx="17">
                  <c:v>1.0055359741531733E-2</c:v>
                </c:pt>
                <c:pt idx="18">
                  <c:v>1.2635213007658156E-2</c:v>
                </c:pt>
                <c:pt idx="19">
                  <c:v>1.5584443334980205E-2</c:v>
                </c:pt>
                <c:pt idx="20">
                  <c:v>1.8730579694348833E-2</c:v>
                </c:pt>
                <c:pt idx="21">
                  <c:v>2.2546006632389849E-2</c:v>
                </c:pt>
                <c:pt idx="22">
                  <c:v>2.619498048934903E-2</c:v>
                </c:pt>
                <c:pt idx="23">
                  <c:v>3.3767694600619402E-2</c:v>
                </c:pt>
                <c:pt idx="24">
                  <c:v>3.9588064397157542E-2</c:v>
                </c:pt>
                <c:pt idx="25">
                  <c:v>5.9289441982312355E-2</c:v>
                </c:pt>
                <c:pt idx="26">
                  <c:v>0.13197506282661889</c:v>
                </c:pt>
                <c:pt idx="27">
                  <c:v>0.18200088173885556</c:v>
                </c:pt>
                <c:pt idx="28">
                  <c:v>0.15665536275805944</c:v>
                </c:pt>
                <c:pt idx="29">
                  <c:v>0.15447227220385812</c:v>
                </c:pt>
                <c:pt idx="30">
                  <c:v>0.13063732109100729</c:v>
                </c:pt>
                <c:pt idx="31">
                  <c:v>0.10703799852434205</c:v>
                </c:pt>
                <c:pt idx="32">
                  <c:v>9.8784870376812037E-2</c:v>
                </c:pt>
                <c:pt idx="33">
                  <c:v>9.9595991821227109E-2</c:v>
                </c:pt>
                <c:pt idx="34">
                  <c:v>9.16854485487862E-2</c:v>
                </c:pt>
                <c:pt idx="35">
                  <c:v>9.808036746505347E-2</c:v>
                </c:pt>
                <c:pt idx="36">
                  <c:v>9.066787328884513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J$2:$J$38</c:f>
              <c:numCache>
                <c:formatCode>0.0%</c:formatCode>
                <c:ptCount val="37"/>
                <c:pt idx="0">
                  <c:v>4.6165145315286956E-3</c:v>
                </c:pt>
                <c:pt idx="1">
                  <c:v>5.932112645893565E-3</c:v>
                </c:pt>
                <c:pt idx="2">
                  <c:v>7.0108074292987033E-3</c:v>
                </c:pt>
                <c:pt idx="3">
                  <c:v>8.5268660553603562E-3</c:v>
                </c:pt>
                <c:pt idx="4">
                  <c:v>8.2225220016701999E-3</c:v>
                </c:pt>
                <c:pt idx="5">
                  <c:v>7.7855040313979775E-3</c:v>
                </c:pt>
                <c:pt idx="6">
                  <c:v>9.8493626882966388E-3</c:v>
                </c:pt>
                <c:pt idx="7">
                  <c:v>1.1483342639121534E-2</c:v>
                </c:pt>
                <c:pt idx="8">
                  <c:v>1.714011189114634E-2</c:v>
                </c:pt>
                <c:pt idx="9">
                  <c:v>2.0650760445524961E-2</c:v>
                </c:pt>
                <c:pt idx="10">
                  <c:v>2.344409250449437E-2</c:v>
                </c:pt>
                <c:pt idx="11">
                  <c:v>2.7386688359093091E-2</c:v>
                </c:pt>
                <c:pt idx="12">
                  <c:v>3.28770989135036E-2</c:v>
                </c:pt>
                <c:pt idx="13">
                  <c:v>4.4005792797945746E-2</c:v>
                </c:pt>
                <c:pt idx="14">
                  <c:v>5.0057914636011974E-2</c:v>
                </c:pt>
                <c:pt idx="15">
                  <c:v>6.8871645587227151E-2</c:v>
                </c:pt>
                <c:pt idx="16">
                  <c:v>0.11984589665911424</c:v>
                </c:pt>
                <c:pt idx="17">
                  <c:v>0.16136845697309521</c:v>
                </c:pt>
                <c:pt idx="18">
                  <c:v>0.20132975089940344</c:v>
                </c:pt>
                <c:pt idx="19">
                  <c:v>0.22405975279264989</c:v>
                </c:pt>
                <c:pt idx="20">
                  <c:v>0.23216177902514462</c:v>
                </c:pt>
                <c:pt idx="21">
                  <c:v>0.24564115866839603</c:v>
                </c:pt>
                <c:pt idx="22">
                  <c:v>0.25009453194357678</c:v>
                </c:pt>
                <c:pt idx="23">
                  <c:v>0.22101900279405715</c:v>
                </c:pt>
                <c:pt idx="24">
                  <c:v>0.18354848356468215</c:v>
                </c:pt>
                <c:pt idx="25">
                  <c:v>0.16831643768839721</c:v>
                </c:pt>
                <c:pt idx="26">
                  <c:v>0.19135301019947648</c:v>
                </c:pt>
                <c:pt idx="27">
                  <c:v>0.22770981837868495</c:v>
                </c:pt>
                <c:pt idx="28">
                  <c:v>0.2949646576188617</c:v>
                </c:pt>
                <c:pt idx="29">
                  <c:v>0.35231291153411221</c:v>
                </c:pt>
                <c:pt idx="30">
                  <c:v>0.39168989017060096</c:v>
                </c:pt>
                <c:pt idx="31">
                  <c:v>0.39053801475169325</c:v>
                </c:pt>
                <c:pt idx="32">
                  <c:v>0.3739528398421248</c:v>
                </c:pt>
                <c:pt idx="33">
                  <c:v>0.29039402488721699</c:v>
                </c:pt>
                <c:pt idx="34">
                  <c:v>0.22802537343973808</c:v>
                </c:pt>
                <c:pt idx="35">
                  <c:v>0.19537587021779396</c:v>
                </c:pt>
                <c:pt idx="36">
                  <c:v>0.164608512874408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E$2:$E$38</c:f>
              <c:numCache>
                <c:formatCode>0.0%</c:formatCode>
                <c:ptCount val="37"/>
                <c:pt idx="0">
                  <c:v>5.9822420141035391E-3</c:v>
                </c:pt>
                <c:pt idx="1">
                  <c:v>9.0501113423196514E-3</c:v>
                </c:pt>
                <c:pt idx="2">
                  <c:v>1.4866828877965936E-2</c:v>
                </c:pt>
                <c:pt idx="3">
                  <c:v>2.109535568255622E-2</c:v>
                </c:pt>
                <c:pt idx="4">
                  <c:v>2.6386701007427266E-2</c:v>
                </c:pt>
                <c:pt idx="5">
                  <c:v>3.4347196358369546E-2</c:v>
                </c:pt>
                <c:pt idx="6">
                  <c:v>5.5992261516058399E-2</c:v>
                </c:pt>
                <c:pt idx="7">
                  <c:v>7.1341827092360643E-2</c:v>
                </c:pt>
                <c:pt idx="8">
                  <c:v>7.6600862688879112E-2</c:v>
                </c:pt>
                <c:pt idx="9">
                  <c:v>7.8531389957778142E-2</c:v>
                </c:pt>
                <c:pt idx="10">
                  <c:v>7.0537299565766834E-2</c:v>
                </c:pt>
                <c:pt idx="11">
                  <c:v>6.22606052931493E-2</c:v>
                </c:pt>
                <c:pt idx="12">
                  <c:v>5.536465837322551E-2</c:v>
                </c:pt>
                <c:pt idx="13">
                  <c:v>5.8218246279424499E-2</c:v>
                </c:pt>
                <c:pt idx="14">
                  <c:v>6.0163033387719285E-2</c:v>
                </c:pt>
                <c:pt idx="15">
                  <c:v>7.5627334712752223E-2</c:v>
                </c:pt>
                <c:pt idx="16">
                  <c:v>0.10700735697478218</c:v>
                </c:pt>
                <c:pt idx="17">
                  <c:v>0.11714679939063694</c:v>
                </c:pt>
                <c:pt idx="18">
                  <c:v>0.14852210969977966</c:v>
                </c:pt>
                <c:pt idx="19">
                  <c:v>0.16559625467707575</c:v>
                </c:pt>
                <c:pt idx="20">
                  <c:v>0.18791749455450596</c:v>
                </c:pt>
                <c:pt idx="21">
                  <c:v>0.2065311506165709</c:v>
                </c:pt>
                <c:pt idx="22">
                  <c:v>0.19903968439889544</c:v>
                </c:pt>
                <c:pt idx="23">
                  <c:v>0.19409105934421111</c:v>
                </c:pt>
                <c:pt idx="24">
                  <c:v>0.17572672495623146</c:v>
                </c:pt>
                <c:pt idx="25">
                  <c:v>0.15575593936872675</c:v>
                </c:pt>
                <c:pt idx="26">
                  <c:v>0.21733263644068326</c:v>
                </c:pt>
                <c:pt idx="27">
                  <c:v>0.22544686463013697</c:v>
                </c:pt>
                <c:pt idx="28">
                  <c:v>0.23669970577436078</c:v>
                </c:pt>
                <c:pt idx="29">
                  <c:v>0.31526730919724866</c:v>
                </c:pt>
                <c:pt idx="30">
                  <c:v>0.43293797755473257</c:v>
                </c:pt>
                <c:pt idx="31">
                  <c:v>0.49298223538091601</c:v>
                </c:pt>
                <c:pt idx="32">
                  <c:v>0.52386447057540553</c:v>
                </c:pt>
                <c:pt idx="33">
                  <c:v>0.55360828818854046</c:v>
                </c:pt>
                <c:pt idx="34">
                  <c:v>0.55119365945099508</c:v>
                </c:pt>
                <c:pt idx="35">
                  <c:v>0.60727691564084374</c:v>
                </c:pt>
                <c:pt idx="36">
                  <c:v>0.70861263157894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G$2:$G$38</c:f>
              <c:numCache>
                <c:formatCode>0.0%</c:formatCode>
                <c:ptCount val="37"/>
                <c:pt idx="0">
                  <c:v>1.2664570792401693E-2</c:v>
                </c:pt>
                <c:pt idx="1">
                  <c:v>7.2727847548059665E-2</c:v>
                </c:pt>
                <c:pt idx="2">
                  <c:v>9.4513378846216065E-2</c:v>
                </c:pt>
                <c:pt idx="3">
                  <c:v>4.2831293747916763E-2</c:v>
                </c:pt>
                <c:pt idx="4">
                  <c:v>3.0733414462694352E-2</c:v>
                </c:pt>
                <c:pt idx="5">
                  <c:v>2.7825907177032018E-2</c:v>
                </c:pt>
                <c:pt idx="6">
                  <c:v>3.1657769141141545E-2</c:v>
                </c:pt>
                <c:pt idx="7">
                  <c:v>3.5897827627619984E-2</c:v>
                </c:pt>
                <c:pt idx="8">
                  <c:v>4.3226953019873879E-2</c:v>
                </c:pt>
                <c:pt idx="9">
                  <c:v>4.5557040469347422E-2</c:v>
                </c:pt>
                <c:pt idx="10">
                  <c:v>4.3039102347891683E-2</c:v>
                </c:pt>
                <c:pt idx="11">
                  <c:v>3.6923409141183784E-2</c:v>
                </c:pt>
                <c:pt idx="12">
                  <c:v>2.4035884092889627E-2</c:v>
                </c:pt>
                <c:pt idx="13">
                  <c:v>2.0344820293002074E-2</c:v>
                </c:pt>
                <c:pt idx="14">
                  <c:v>3.3618541147443969E-2</c:v>
                </c:pt>
                <c:pt idx="15">
                  <c:v>3.4935340667824742E-2</c:v>
                </c:pt>
                <c:pt idx="16">
                  <c:v>4.5092924048912165E-2</c:v>
                </c:pt>
                <c:pt idx="17">
                  <c:v>6.2254394775862025E-2</c:v>
                </c:pt>
                <c:pt idx="18">
                  <c:v>7.3598718462154586E-2</c:v>
                </c:pt>
                <c:pt idx="19">
                  <c:v>8.4868584214175424E-2</c:v>
                </c:pt>
                <c:pt idx="20">
                  <c:v>0.1166082420730072</c:v>
                </c:pt>
                <c:pt idx="21">
                  <c:v>0.11914561593208362</c:v>
                </c:pt>
                <c:pt idx="22">
                  <c:v>0.13478466517742471</c:v>
                </c:pt>
                <c:pt idx="23">
                  <c:v>0.13769329600018859</c:v>
                </c:pt>
                <c:pt idx="24">
                  <c:v>0.13153783220289778</c:v>
                </c:pt>
                <c:pt idx="25">
                  <c:v>0.14066934271602491</c:v>
                </c:pt>
                <c:pt idx="26">
                  <c:v>0.18940629272907486</c:v>
                </c:pt>
                <c:pt idx="27">
                  <c:v>0.25260195298269172</c:v>
                </c:pt>
                <c:pt idx="28">
                  <c:v>0.27764144799562201</c:v>
                </c:pt>
                <c:pt idx="29">
                  <c:v>0.34742208098929955</c:v>
                </c:pt>
                <c:pt idx="30">
                  <c:v>0.39495797540611416</c:v>
                </c:pt>
                <c:pt idx="31">
                  <c:v>0.43657261521930885</c:v>
                </c:pt>
                <c:pt idx="32">
                  <c:v>0.40537442177373051</c:v>
                </c:pt>
                <c:pt idx="33">
                  <c:v>0.36549211944291382</c:v>
                </c:pt>
                <c:pt idx="34">
                  <c:v>0.33256720520967126</c:v>
                </c:pt>
                <c:pt idx="35">
                  <c:v>0.52792419448897199</c:v>
                </c:pt>
                <c:pt idx="36">
                  <c:v>0.491132946633504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I$2:$I$38</c:f>
              <c:numCache>
                <c:formatCode>0.0%</c:formatCode>
                <c:ptCount val="37"/>
                <c:pt idx="0">
                  <c:v>2.1344901189314447E-3</c:v>
                </c:pt>
                <c:pt idx="1">
                  <c:v>2.0111258354252631E-3</c:v>
                </c:pt>
                <c:pt idx="2">
                  <c:v>2.3433512530782099E-3</c:v>
                </c:pt>
                <c:pt idx="3">
                  <c:v>2.8143125717401832E-3</c:v>
                </c:pt>
                <c:pt idx="4">
                  <c:v>3.483765110247946E-3</c:v>
                </c:pt>
                <c:pt idx="5">
                  <c:v>3.8001043022869918E-3</c:v>
                </c:pt>
                <c:pt idx="6">
                  <c:v>4.7280722475605544E-3</c:v>
                </c:pt>
                <c:pt idx="7">
                  <c:v>5.0274835768869819E-3</c:v>
                </c:pt>
                <c:pt idx="8">
                  <c:v>6.2417235210754972E-3</c:v>
                </c:pt>
                <c:pt idx="9">
                  <c:v>8.9875520632396125E-3</c:v>
                </c:pt>
                <c:pt idx="10">
                  <c:v>1.2670956577321677E-2</c:v>
                </c:pt>
                <c:pt idx="11">
                  <c:v>1.6751379694115217E-2</c:v>
                </c:pt>
                <c:pt idx="12">
                  <c:v>2.0444139194139194E-2</c:v>
                </c:pt>
                <c:pt idx="13">
                  <c:v>2.9341924839187968E-2</c:v>
                </c:pt>
                <c:pt idx="14">
                  <c:v>4.6197617026627683E-2</c:v>
                </c:pt>
                <c:pt idx="15">
                  <c:v>6.6678390888034927E-2</c:v>
                </c:pt>
                <c:pt idx="16">
                  <c:v>0.11175634569997235</c:v>
                </c:pt>
                <c:pt idx="17">
                  <c:v>0.15054810327419588</c:v>
                </c:pt>
                <c:pt idx="18">
                  <c:v>0.19202110339815676</c:v>
                </c:pt>
                <c:pt idx="19">
                  <c:v>0.2228222939699312</c:v>
                </c:pt>
                <c:pt idx="20">
                  <c:v>0.24583406029879135</c:v>
                </c:pt>
                <c:pt idx="21">
                  <c:v>0.25382659606727159</c:v>
                </c:pt>
                <c:pt idx="22">
                  <c:v>0.24777299622639223</c:v>
                </c:pt>
                <c:pt idx="23">
                  <c:v>0.23529259911104902</c:v>
                </c:pt>
                <c:pt idx="24">
                  <c:v>0.20158611181963143</c:v>
                </c:pt>
                <c:pt idx="25">
                  <c:v>0.16609146146957882</c:v>
                </c:pt>
                <c:pt idx="26">
                  <c:v>0.14003577931714339</c:v>
                </c:pt>
                <c:pt idx="27">
                  <c:v>0.14660029373219902</c:v>
                </c:pt>
                <c:pt idx="28">
                  <c:v>0.16684218493385919</c:v>
                </c:pt>
                <c:pt idx="29">
                  <c:v>0.26552017005285683</c:v>
                </c:pt>
                <c:pt idx="30">
                  <c:v>0.30805804850105023</c:v>
                </c:pt>
                <c:pt idx="31">
                  <c:v>0.32726372532871495</c:v>
                </c:pt>
                <c:pt idx="32">
                  <c:v>0.27033280450631919</c:v>
                </c:pt>
                <c:pt idx="33">
                  <c:v>0.21960378876622533</c:v>
                </c:pt>
                <c:pt idx="34">
                  <c:v>0.18787704109747963</c:v>
                </c:pt>
                <c:pt idx="35">
                  <c:v>0.16463584687441044</c:v>
                </c:pt>
                <c:pt idx="36">
                  <c:v>0.160553726002832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B$2:$B$38</c:f>
              <c:numCache>
                <c:formatCode>0.0%</c:formatCode>
                <c:ptCount val="37"/>
                <c:pt idx="0">
                  <c:v>1.3166365240795764E-4</c:v>
                </c:pt>
                <c:pt idx="1">
                  <c:v>2.684131283243138E-4</c:v>
                </c:pt>
                <c:pt idx="2">
                  <c:v>6.4438783156001796E-4</c:v>
                </c:pt>
                <c:pt idx="3">
                  <c:v>9.0230684916086886E-4</c:v>
                </c:pt>
                <c:pt idx="4">
                  <c:v>1.0093815667241268E-3</c:v>
                </c:pt>
                <c:pt idx="5">
                  <c:v>1.3509894053988735E-3</c:v>
                </c:pt>
                <c:pt idx="6">
                  <c:v>2.2830970728304483E-3</c:v>
                </c:pt>
                <c:pt idx="7">
                  <c:v>2.9097161791043053E-3</c:v>
                </c:pt>
                <c:pt idx="8">
                  <c:v>3.4908972523427415E-3</c:v>
                </c:pt>
                <c:pt idx="9">
                  <c:v>3.9796939162708442E-3</c:v>
                </c:pt>
                <c:pt idx="10">
                  <c:v>4.2491950404701072E-3</c:v>
                </c:pt>
                <c:pt idx="11">
                  <c:v>4.6210056098766094E-3</c:v>
                </c:pt>
                <c:pt idx="12">
                  <c:v>3.7184898056857522E-3</c:v>
                </c:pt>
                <c:pt idx="13">
                  <c:v>4.1767487026011648E-3</c:v>
                </c:pt>
                <c:pt idx="14">
                  <c:v>3.4909589787743469E-3</c:v>
                </c:pt>
                <c:pt idx="15">
                  <c:v>4.2731511735725628E-3</c:v>
                </c:pt>
                <c:pt idx="16">
                  <c:v>6.4632300327374589E-3</c:v>
                </c:pt>
                <c:pt idx="17">
                  <c:v>1.1246294633142253E-2</c:v>
                </c:pt>
                <c:pt idx="18">
                  <c:v>1.1862362084110846E-2</c:v>
                </c:pt>
                <c:pt idx="19">
                  <c:v>1.8289901305118796E-2</c:v>
                </c:pt>
                <c:pt idx="20">
                  <c:v>1.6461207562456292E-2</c:v>
                </c:pt>
                <c:pt idx="21">
                  <c:v>1.0562943044960632E-2</c:v>
                </c:pt>
                <c:pt idx="22">
                  <c:v>8.4512810361085551E-3</c:v>
                </c:pt>
                <c:pt idx="23">
                  <c:v>5.7847750232577324E-3</c:v>
                </c:pt>
                <c:pt idx="24">
                  <c:v>3.1485708829886035E-3</c:v>
                </c:pt>
                <c:pt idx="25">
                  <c:v>3.068613133177894E-3</c:v>
                </c:pt>
                <c:pt idx="26">
                  <c:v>4.7753666062073158E-3</c:v>
                </c:pt>
                <c:pt idx="27">
                  <c:v>1.498984818703231E-2</c:v>
                </c:pt>
                <c:pt idx="28">
                  <c:v>1.3950541384891409E-2</c:v>
                </c:pt>
                <c:pt idx="29">
                  <c:v>2.2645475044614876E-2</c:v>
                </c:pt>
                <c:pt idx="30">
                  <c:v>2.8675221549419844E-2</c:v>
                </c:pt>
                <c:pt idx="31">
                  <c:v>2.9196519571732745E-2</c:v>
                </c:pt>
                <c:pt idx="32">
                  <c:v>3.5410049846169148E-2</c:v>
                </c:pt>
                <c:pt idx="33">
                  <c:v>3.1546507076959308E-2</c:v>
                </c:pt>
                <c:pt idx="34">
                  <c:v>3.2523194977816541E-2</c:v>
                </c:pt>
                <c:pt idx="35">
                  <c:v>3.7524326691875366E-2</c:v>
                </c:pt>
                <c:pt idx="36">
                  <c:v>5.117190186651993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K$2:$K$38</c:f>
              <c:numCache>
                <c:formatCode>0.0%</c:formatCode>
                <c:ptCount val="37"/>
                <c:pt idx="0">
                  <c:v>1.0677334676159702E-3</c:v>
                </c:pt>
                <c:pt idx="1">
                  <c:v>2.4285447412665793E-3</c:v>
                </c:pt>
                <c:pt idx="2">
                  <c:v>2.2151018431707894E-3</c:v>
                </c:pt>
                <c:pt idx="3">
                  <c:v>3.1765375740442918E-3</c:v>
                </c:pt>
                <c:pt idx="4">
                  <c:v>4.1363613873633166E-3</c:v>
                </c:pt>
                <c:pt idx="5">
                  <c:v>4.4324937503938825E-3</c:v>
                </c:pt>
                <c:pt idx="6">
                  <c:v>5.7273653111229875E-3</c:v>
                </c:pt>
                <c:pt idx="7">
                  <c:v>5.9536372590403824E-3</c:v>
                </c:pt>
                <c:pt idx="8">
                  <c:v>7.3170949083357839E-3</c:v>
                </c:pt>
                <c:pt idx="9">
                  <c:v>1.1196375255355927E-2</c:v>
                </c:pt>
                <c:pt idx="10">
                  <c:v>1.7050535120214604E-2</c:v>
                </c:pt>
                <c:pt idx="11">
                  <c:v>2.8315500796283626E-2</c:v>
                </c:pt>
                <c:pt idx="12">
                  <c:v>2.9621302416296458E-2</c:v>
                </c:pt>
                <c:pt idx="13">
                  <c:v>3.8364537541376954E-2</c:v>
                </c:pt>
                <c:pt idx="14">
                  <c:v>4.5630007586937131E-2</c:v>
                </c:pt>
                <c:pt idx="15">
                  <c:v>5.5002372731586785E-2</c:v>
                </c:pt>
                <c:pt idx="16">
                  <c:v>8.3156289557254848E-2</c:v>
                </c:pt>
                <c:pt idx="17">
                  <c:v>0.1123544383475417</c:v>
                </c:pt>
                <c:pt idx="18">
                  <c:v>0.13808626432166271</c:v>
                </c:pt>
                <c:pt idx="19">
                  <c:v>0.13431291607010357</c:v>
                </c:pt>
                <c:pt idx="20">
                  <c:v>0.1500915177496267</c:v>
                </c:pt>
                <c:pt idx="21">
                  <c:v>0.13441968837073959</c:v>
                </c:pt>
                <c:pt idx="22">
                  <c:v>0.12895144785634807</c:v>
                </c:pt>
                <c:pt idx="23">
                  <c:v>0.11794603091433063</c:v>
                </c:pt>
                <c:pt idx="24">
                  <c:v>9.2125743798345039E-2</c:v>
                </c:pt>
                <c:pt idx="25">
                  <c:v>8.6784284013421364E-2</c:v>
                </c:pt>
                <c:pt idx="26">
                  <c:v>8.8841395529762085E-2</c:v>
                </c:pt>
                <c:pt idx="27">
                  <c:v>6.9600646508182373E-2</c:v>
                </c:pt>
                <c:pt idx="28">
                  <c:v>6.3353874207544431E-2</c:v>
                </c:pt>
                <c:pt idx="29">
                  <c:v>0.12973915903604552</c:v>
                </c:pt>
                <c:pt idx="30">
                  <c:v>0.2159361316289973</c:v>
                </c:pt>
                <c:pt idx="31">
                  <c:v>0.27208236677884146</c:v>
                </c:pt>
                <c:pt idx="32">
                  <c:v>0.30979857654136561</c:v>
                </c:pt>
                <c:pt idx="33">
                  <c:v>0.30674374178675495</c:v>
                </c:pt>
                <c:pt idx="34">
                  <c:v>0.29159679750239331</c:v>
                </c:pt>
                <c:pt idx="35">
                  <c:v>0.28242684915616184</c:v>
                </c:pt>
                <c:pt idx="36">
                  <c:v>0.299210864067841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38</c:f>
              <c:numCache>
                <c:formatCode>0.0%</c:formatCode>
                <c:ptCount val="37"/>
                <c:pt idx="0">
                  <c:v>9.3563798952760166E-2</c:v>
                </c:pt>
                <c:pt idx="1">
                  <c:v>0.1280161589175271</c:v>
                </c:pt>
                <c:pt idx="2">
                  <c:v>0.14424354125762867</c:v>
                </c:pt>
                <c:pt idx="3">
                  <c:v>0.14580747209344558</c:v>
                </c:pt>
                <c:pt idx="4">
                  <c:v>0.13012764451968398</c:v>
                </c:pt>
                <c:pt idx="5">
                  <c:v>0.11537149524558962</c:v>
                </c:pt>
                <c:pt idx="6">
                  <c:v>0.10140134353307072</c:v>
                </c:pt>
                <c:pt idx="7">
                  <c:v>8.7854291070907684E-2</c:v>
                </c:pt>
                <c:pt idx="8">
                  <c:v>7.1161264796069768E-2</c:v>
                </c:pt>
                <c:pt idx="9">
                  <c:v>4.9457123158303348E-2</c:v>
                </c:pt>
                <c:pt idx="10">
                  <c:v>3.7429369399656062E-2</c:v>
                </c:pt>
                <c:pt idx="11">
                  <c:v>2.8219201564364985E-2</c:v>
                </c:pt>
                <c:pt idx="12">
                  <c:v>2.2476890946495635E-2</c:v>
                </c:pt>
                <c:pt idx="13">
                  <c:v>1.827956663933707E-2</c:v>
                </c:pt>
                <c:pt idx="14">
                  <c:v>1.8092924108238494E-2</c:v>
                </c:pt>
                <c:pt idx="15">
                  <c:v>1.9715271624738767E-2</c:v>
                </c:pt>
                <c:pt idx="16">
                  <c:v>2.1579293965994353E-2</c:v>
                </c:pt>
                <c:pt idx="17">
                  <c:v>2.3720349563046191E-2</c:v>
                </c:pt>
                <c:pt idx="18">
                  <c:v>2.9872865122659086E-2</c:v>
                </c:pt>
                <c:pt idx="19">
                  <c:v>3.9540935727257406E-2</c:v>
                </c:pt>
                <c:pt idx="20">
                  <c:v>5.3651732233653694E-2</c:v>
                </c:pt>
                <c:pt idx="21">
                  <c:v>6.6281190752172231E-2</c:v>
                </c:pt>
                <c:pt idx="22">
                  <c:v>8.136388270280856E-2</c:v>
                </c:pt>
                <c:pt idx="23">
                  <c:v>0.11138186056306182</c:v>
                </c:pt>
                <c:pt idx="24">
                  <c:v>0.14339982381072239</c:v>
                </c:pt>
                <c:pt idx="25">
                  <c:v>0.21302332816153149</c:v>
                </c:pt>
                <c:pt idx="26">
                  <c:v>0.31062453486543723</c:v>
                </c:pt>
                <c:pt idx="27">
                  <c:v>0.39494595729404192</c:v>
                </c:pt>
                <c:pt idx="28">
                  <c:v>0.3847659486793602</c:v>
                </c:pt>
                <c:pt idx="29">
                  <c:v>0.37569537367568678</c:v>
                </c:pt>
                <c:pt idx="30">
                  <c:v>0.34604000654143063</c:v>
                </c:pt>
                <c:pt idx="31">
                  <c:v>0.28517225028037241</c:v>
                </c:pt>
                <c:pt idx="32">
                  <c:v>0.24151906033871698</c:v>
                </c:pt>
                <c:pt idx="33">
                  <c:v>0.19042243827314917</c:v>
                </c:pt>
                <c:pt idx="34">
                  <c:v>0.1627092745803273</c:v>
                </c:pt>
                <c:pt idx="35">
                  <c:v>0.16220203699979288</c:v>
                </c:pt>
                <c:pt idx="36">
                  <c:v>0.149071189752634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I$2:$I$38</c:f>
              <c:numCache>
                <c:formatCode>General</c:formatCode>
                <c:ptCount val="37"/>
                <c:pt idx="0">
                  <c:v>0.37318484626520076</c:v>
                </c:pt>
                <c:pt idx="1">
                  <c:v>0.26036152065014007</c:v>
                </c:pt>
                <c:pt idx="2">
                  <c:v>0.14753819503507937</c:v>
                </c:pt>
                <c:pt idx="3">
                  <c:v>0.15621691239008403</c:v>
                </c:pt>
                <c:pt idx="4">
                  <c:v>0.2777189553601494</c:v>
                </c:pt>
                <c:pt idx="5">
                  <c:v>0.3818635636202054</c:v>
                </c:pt>
                <c:pt idx="6">
                  <c:v>0.3905422809752101</c:v>
                </c:pt>
                <c:pt idx="7">
                  <c:v>0.5467591933652941</c:v>
                </c:pt>
                <c:pt idx="8">
                  <c:v>0.63354636691534083</c:v>
                </c:pt>
                <c:pt idx="9">
                  <c:v>0.62486764956033614</c:v>
                </c:pt>
                <c:pt idx="10">
                  <c:v>0.76372712724041081</c:v>
                </c:pt>
                <c:pt idx="11">
                  <c:v>0.75504840988540622</c:v>
                </c:pt>
                <c:pt idx="12">
                  <c:v>0.80712071401543428</c:v>
                </c:pt>
                <c:pt idx="13">
                  <c:v>0.95465890905051365</c:v>
                </c:pt>
                <c:pt idx="14">
                  <c:v>1.0240886478905511</c:v>
                </c:pt>
                <c:pt idx="15">
                  <c:v>1.3278437553157143</c:v>
                </c:pt>
                <c:pt idx="16">
                  <c:v>1.7270647536459289</c:v>
                </c:pt>
                <c:pt idx="17">
                  <c:v>2.2304303602362001</c:v>
                </c:pt>
                <c:pt idx="18">
                  <c:v>2.6209726412114103</c:v>
                </c:pt>
                <c:pt idx="19">
                  <c:v>3.0288723568966294</c:v>
                </c:pt>
                <c:pt idx="20">
                  <c:v>3.9574951138821293</c:v>
                </c:pt>
                <c:pt idx="21">
                  <c:v>4.8340455667376006</c:v>
                </c:pt>
                <c:pt idx="22">
                  <c:v>5.6151301286880209</c:v>
                </c:pt>
                <c:pt idx="23">
                  <c:v>5.7279534543030817</c:v>
                </c:pt>
                <c:pt idx="24">
                  <c:v>4.8600817188026149</c:v>
                </c:pt>
                <c:pt idx="25">
                  <c:v>4.0616397221421847</c:v>
                </c:pt>
                <c:pt idx="26">
                  <c:v>3.2371615734167416</c:v>
                </c:pt>
                <c:pt idx="27">
                  <c:v>2.4734344461763307</c:v>
                </c:pt>
                <c:pt idx="28">
                  <c:v>2.334574968496256</c:v>
                </c:pt>
                <c:pt idx="29">
                  <c:v>2.7337959668264706</c:v>
                </c:pt>
                <c:pt idx="30">
                  <c:v>3.5322379634869003</c:v>
                </c:pt>
                <c:pt idx="31">
                  <c:v>4.6170776328624843</c:v>
                </c:pt>
                <c:pt idx="32">
                  <c:v>5.3981621948129046</c:v>
                </c:pt>
                <c:pt idx="33">
                  <c:v>5.1204432394527544</c:v>
                </c:pt>
                <c:pt idx="34">
                  <c:v>3.7318484626520076</c:v>
                </c:pt>
                <c:pt idx="35">
                  <c:v>2.4040047073362936</c:v>
                </c:pt>
                <c:pt idx="36">
                  <c:v>2.05685601313610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C$2:$C$38</c:f>
              <c:numCache>
                <c:formatCode>General</c:formatCode>
                <c:ptCount val="37"/>
                <c:pt idx="0">
                  <c:v>0.16831964349151421</c:v>
                </c:pt>
                <c:pt idx="1">
                  <c:v>9.3510913050841235E-2</c:v>
                </c:pt>
                <c:pt idx="2">
                  <c:v>5.6106547830504741E-2</c:v>
                </c:pt>
                <c:pt idx="3">
                  <c:v>5.6106547830504741E-2</c:v>
                </c:pt>
                <c:pt idx="4">
                  <c:v>6.5457639135588858E-2</c:v>
                </c:pt>
                <c:pt idx="5">
                  <c:v>7.4808730440672988E-2</c:v>
                </c:pt>
                <c:pt idx="6">
                  <c:v>8.4159821745757105E-2</c:v>
                </c:pt>
                <c:pt idx="7">
                  <c:v>0.13091527827117772</c:v>
                </c:pt>
                <c:pt idx="8">
                  <c:v>0.15896855218643008</c:v>
                </c:pt>
                <c:pt idx="9">
                  <c:v>9.3510913050841235E-2</c:v>
                </c:pt>
                <c:pt idx="10">
                  <c:v>7.4808730440672988E-2</c:v>
                </c:pt>
                <c:pt idx="11">
                  <c:v>0.19637291740676657</c:v>
                </c:pt>
                <c:pt idx="12">
                  <c:v>0.26183055654235543</c:v>
                </c:pt>
                <c:pt idx="13">
                  <c:v>0.26183055654235543</c:v>
                </c:pt>
                <c:pt idx="14">
                  <c:v>0.3833947435084491</c:v>
                </c:pt>
                <c:pt idx="15">
                  <c:v>0.73873621310164572</c:v>
                </c:pt>
                <c:pt idx="16">
                  <c:v>1.3091527827117773</c:v>
                </c:pt>
                <c:pt idx="17">
                  <c:v>2.3471239175761149</c:v>
                </c:pt>
                <c:pt idx="18">
                  <c:v>4.3856618220844537</c:v>
                </c:pt>
                <c:pt idx="19">
                  <c:v>7.1629359396944379</c:v>
                </c:pt>
                <c:pt idx="20">
                  <c:v>10.735052818236573</c:v>
                </c:pt>
                <c:pt idx="21">
                  <c:v>13.58713566628723</c:v>
                </c:pt>
                <c:pt idx="22">
                  <c:v>14.961746088134598</c:v>
                </c:pt>
                <c:pt idx="23">
                  <c:v>15.382545196863381</c:v>
                </c:pt>
                <c:pt idx="24">
                  <c:v>14.28846751416854</c:v>
                </c:pt>
                <c:pt idx="25">
                  <c:v>11.735619587880574</c:v>
                </c:pt>
                <c:pt idx="26">
                  <c:v>8.8461323746095797</c:v>
                </c:pt>
                <c:pt idx="27">
                  <c:v>6.8917542918469996</c:v>
                </c:pt>
                <c:pt idx="28">
                  <c:v>5.3394731352030336</c:v>
                </c:pt>
                <c:pt idx="29">
                  <c:v>3.7591387046438172</c:v>
                </c:pt>
                <c:pt idx="30">
                  <c:v>3.0204024915421717</c:v>
                </c:pt>
                <c:pt idx="31">
                  <c:v>4.3576085481692015</c:v>
                </c:pt>
                <c:pt idx="32">
                  <c:v>6.4896573657283811</c:v>
                </c:pt>
                <c:pt idx="33">
                  <c:v>7.0694250266435965</c:v>
                </c:pt>
                <c:pt idx="34">
                  <c:v>6.6018704613893897</c:v>
                </c:pt>
                <c:pt idx="35">
                  <c:v>5.7976766091521563</c:v>
                </c:pt>
                <c:pt idx="36">
                  <c:v>4.4511194612200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D$2:$D$38</c:f>
              <c:numCache>
                <c:formatCode>General</c:formatCode>
                <c:ptCount val="37"/>
                <c:pt idx="0">
                  <c:v>0.68775774575649018</c:v>
                </c:pt>
                <c:pt idx="1">
                  <c:v>0.55555377303008058</c:v>
                </c:pt>
                <c:pt idx="2">
                  <c:v>0.42929155188688051</c:v>
                </c:pt>
                <c:pt idx="3">
                  <c:v>0.40255366976243806</c:v>
                </c:pt>
                <c:pt idx="4">
                  <c:v>0.65804898784044297</c:v>
                </c:pt>
                <c:pt idx="5">
                  <c:v>0.97593269754214695</c:v>
                </c:pt>
                <c:pt idx="6">
                  <c:v>1.2522241461613848</c:v>
                </c:pt>
                <c:pt idx="7">
                  <c:v>1.9667197740423175</c:v>
                </c:pt>
                <c:pt idx="8">
                  <c:v>2.3767006332837672</c:v>
                </c:pt>
                <c:pt idx="9">
                  <c:v>2.1791373931420543</c:v>
                </c:pt>
                <c:pt idx="10">
                  <c:v>1.986030466687748</c:v>
                </c:pt>
                <c:pt idx="11">
                  <c:v>1.6904283254230794</c:v>
                </c:pt>
                <c:pt idx="12">
                  <c:v>1.382942680991992</c:v>
                </c:pt>
                <c:pt idx="13">
                  <c:v>1.1363599902888013</c:v>
                </c:pt>
                <c:pt idx="14">
                  <c:v>0.88680642379400565</c:v>
                </c:pt>
                <c:pt idx="15">
                  <c:v>0.68775774575649018</c:v>
                </c:pt>
                <c:pt idx="16">
                  <c:v>0.61497128886217478</c:v>
                </c:pt>
                <c:pt idx="17">
                  <c:v>0.61645672675797714</c:v>
                </c:pt>
                <c:pt idx="18">
                  <c:v>0.67290336679846663</c:v>
                </c:pt>
                <c:pt idx="19">
                  <c:v>0.7397480721095725</c:v>
                </c:pt>
                <c:pt idx="20">
                  <c:v>0.87640835852338905</c:v>
                </c:pt>
                <c:pt idx="21">
                  <c:v>1.2046901334957094</c:v>
                </c:pt>
                <c:pt idx="22">
                  <c:v>1.6815156980482653</c:v>
                </c:pt>
                <c:pt idx="23">
                  <c:v>2.3514481890551271</c:v>
                </c:pt>
                <c:pt idx="24">
                  <c:v>2.9827592947711281</c:v>
                </c:pt>
                <c:pt idx="25">
                  <c:v>3.3793712129503568</c:v>
                </c:pt>
                <c:pt idx="26">
                  <c:v>3.8071773269414351</c:v>
                </c:pt>
                <c:pt idx="27">
                  <c:v>4.335993217847073</c:v>
                </c:pt>
                <c:pt idx="28">
                  <c:v>4.6657604307151956</c:v>
                </c:pt>
                <c:pt idx="29">
                  <c:v>4.9984985193749232</c:v>
                </c:pt>
                <c:pt idx="30">
                  <c:v>5.7204213367348675</c:v>
                </c:pt>
                <c:pt idx="31">
                  <c:v>6.2432954760572956</c:v>
                </c:pt>
                <c:pt idx="32">
                  <c:v>6.3398489392844493</c:v>
                </c:pt>
                <c:pt idx="33">
                  <c:v>5.9417515832094177</c:v>
                </c:pt>
                <c:pt idx="34">
                  <c:v>4.9509645067092478</c:v>
                </c:pt>
                <c:pt idx="35">
                  <c:v>3.9215560449182156</c:v>
                </c:pt>
                <c:pt idx="36">
                  <c:v>3.02138068006198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F$2:$F$38</c:f>
              <c:numCache>
                <c:formatCode>General</c:formatCode>
                <c:ptCount val="37"/>
                <c:pt idx="0">
                  <c:v>0.63546368930298991</c:v>
                </c:pt>
                <c:pt idx="1">
                  <c:v>0.5080356144031819</c:v>
                </c:pt>
                <c:pt idx="2">
                  <c:v>0.36551737273892293</c:v>
                </c:pt>
                <c:pt idx="3">
                  <c:v>0.2917432241127183</c:v>
                </c:pt>
                <c:pt idx="4">
                  <c:v>0.33198366881792085</c:v>
                </c:pt>
                <c:pt idx="5">
                  <c:v>0.45438168812957846</c:v>
                </c:pt>
                <c:pt idx="6">
                  <c:v>0.61534346695038855</c:v>
                </c:pt>
                <c:pt idx="7">
                  <c:v>0.89031983910260593</c:v>
                </c:pt>
                <c:pt idx="8">
                  <c:v>1.1082889145891197</c:v>
                </c:pt>
                <c:pt idx="9">
                  <c:v>1.2809874897822804</c:v>
                </c:pt>
                <c:pt idx="10">
                  <c:v>1.384941971937387</c:v>
                </c:pt>
                <c:pt idx="11">
                  <c:v>1.3329647308598336</c:v>
                </c:pt>
                <c:pt idx="12">
                  <c:v>1.304461082526982</c:v>
                </c:pt>
                <c:pt idx="13">
                  <c:v>1.2088900263521258</c:v>
                </c:pt>
                <c:pt idx="14">
                  <c:v>1.0127178584142638</c:v>
                </c:pt>
                <c:pt idx="15">
                  <c:v>0.85510944998555372</c:v>
                </c:pt>
                <c:pt idx="16">
                  <c:v>0.88025972792630525</c:v>
                </c:pt>
                <c:pt idx="17">
                  <c:v>0.93726702459200895</c:v>
                </c:pt>
                <c:pt idx="18">
                  <c:v>0.93726702459200895</c:v>
                </c:pt>
                <c:pt idx="19">
                  <c:v>1.1317625073338209</c:v>
                </c:pt>
                <c:pt idx="20">
                  <c:v>1.3279346752716834</c:v>
                </c:pt>
                <c:pt idx="21">
                  <c:v>1.5073399912490446</c:v>
                </c:pt>
                <c:pt idx="22">
                  <c:v>1.7068655295790069</c:v>
                </c:pt>
                <c:pt idx="23">
                  <c:v>1.9399247718299719</c:v>
                </c:pt>
                <c:pt idx="24">
                  <c:v>2.4244867934884522</c:v>
                </c:pt>
                <c:pt idx="25">
                  <c:v>2.9844996489691873</c:v>
                </c:pt>
                <c:pt idx="26">
                  <c:v>3.3617538180804609</c:v>
                </c:pt>
                <c:pt idx="27">
                  <c:v>4.0693149708136058</c:v>
                </c:pt>
                <c:pt idx="28">
                  <c:v>5.7979774079412634</c:v>
                </c:pt>
                <c:pt idx="29">
                  <c:v>7.5199331042847222</c:v>
                </c:pt>
                <c:pt idx="30">
                  <c:v>8.4588768140727808</c:v>
                </c:pt>
                <c:pt idx="31">
                  <c:v>8.7992439088709524</c:v>
                </c:pt>
                <c:pt idx="32">
                  <c:v>8.1587501639798123</c:v>
                </c:pt>
                <c:pt idx="33">
                  <c:v>7.0722581569393439</c:v>
                </c:pt>
                <c:pt idx="34">
                  <c:v>5.9438490199976224</c:v>
                </c:pt>
                <c:pt idx="35">
                  <c:v>4.8590336981532047</c:v>
                </c:pt>
                <c:pt idx="36">
                  <c:v>3.8697894324836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K$2:$K$38</c:f>
              <c:numCache>
                <c:formatCode>General</c:formatCode>
                <c:ptCount val="37"/>
                <c:pt idx="0">
                  <c:v>0.32754915642785537</c:v>
                </c:pt>
                <c:pt idx="1">
                  <c:v>0.18424640049066862</c:v>
                </c:pt>
                <c:pt idx="2">
                  <c:v>0.18424640049066862</c:v>
                </c:pt>
                <c:pt idx="3">
                  <c:v>9.2123200245334311E-2</c:v>
                </c:pt>
                <c:pt idx="4">
                  <c:v>7.1651377968593361E-2</c:v>
                </c:pt>
                <c:pt idx="5">
                  <c:v>0.12283093366044574</c:v>
                </c:pt>
                <c:pt idx="6">
                  <c:v>0.11259502252207527</c:v>
                </c:pt>
                <c:pt idx="7">
                  <c:v>0.17401048935229815</c:v>
                </c:pt>
                <c:pt idx="8">
                  <c:v>0.20471822276740961</c:v>
                </c:pt>
                <c:pt idx="9">
                  <c:v>0.22519004504415055</c:v>
                </c:pt>
                <c:pt idx="10">
                  <c:v>0.4810878235034125</c:v>
                </c:pt>
                <c:pt idx="11">
                  <c:v>0.73698560196267449</c:v>
                </c:pt>
                <c:pt idx="12">
                  <c:v>0.87005244676149074</c:v>
                </c:pt>
                <c:pt idx="13">
                  <c:v>1.1771297809126051</c:v>
                </c:pt>
                <c:pt idx="14">
                  <c:v>1.3716120925416444</c:v>
                </c:pt>
                <c:pt idx="15">
                  <c:v>1.8731717383217978</c:v>
                </c:pt>
                <c:pt idx="16">
                  <c:v>3.3471429422471473</c:v>
                </c:pt>
                <c:pt idx="17">
                  <c:v>6.1415466830222885</c:v>
                </c:pt>
                <c:pt idx="18">
                  <c:v>10.696527139597151</c:v>
                </c:pt>
                <c:pt idx="19">
                  <c:v>15.640472219430093</c:v>
                </c:pt>
                <c:pt idx="20">
                  <c:v>19.161625651029539</c:v>
                </c:pt>
                <c:pt idx="21">
                  <c:v>22.877261394258024</c:v>
                </c:pt>
                <c:pt idx="22">
                  <c:v>26.275583892197023</c:v>
                </c:pt>
                <c:pt idx="23">
                  <c:v>26.173224780813314</c:v>
                </c:pt>
                <c:pt idx="24">
                  <c:v>22.856789571981281</c:v>
                </c:pt>
                <c:pt idx="25">
                  <c:v>18.936435605985388</c:v>
                </c:pt>
                <c:pt idx="26">
                  <c:v>15.057025284542975</c:v>
                </c:pt>
                <c:pt idx="27">
                  <c:v>11.556343675220271</c:v>
                </c:pt>
                <c:pt idx="28">
                  <c:v>9.4886896252694353</c:v>
                </c:pt>
                <c:pt idx="29">
                  <c:v>8.2194366441114948</c:v>
                </c:pt>
                <c:pt idx="30">
                  <c:v>8.6084012673695742</c:v>
                </c:pt>
                <c:pt idx="31">
                  <c:v>10.850065806672708</c:v>
                </c:pt>
                <c:pt idx="32">
                  <c:v>12.968899412315398</c:v>
                </c:pt>
                <c:pt idx="33">
                  <c:v>13.44998723581881</c:v>
                </c:pt>
                <c:pt idx="34">
                  <c:v>12.59017070019569</c:v>
                </c:pt>
                <c:pt idx="35">
                  <c:v>10.297326605200702</c:v>
                </c:pt>
                <c:pt idx="36">
                  <c:v>6.9911273075070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E$2:$E$38</c:f>
              <c:numCache>
                <c:formatCode>General</c:formatCode>
                <c:ptCount val="37"/>
                <c:pt idx="0">
                  <c:v>0.28136257546604193</c:v>
                </c:pt>
                <c:pt idx="1">
                  <c:v>0.18877745447935293</c:v>
                </c:pt>
                <c:pt idx="2">
                  <c:v>0.14188369190167927</c:v>
                </c:pt>
                <c:pt idx="3">
                  <c:v>0.14068128773302097</c:v>
                </c:pt>
                <c:pt idx="4">
                  <c:v>0.1298596502150963</c:v>
                </c:pt>
                <c:pt idx="5">
                  <c:v>0.128657246046438</c:v>
                </c:pt>
                <c:pt idx="6">
                  <c:v>0.16352696693752863</c:v>
                </c:pt>
                <c:pt idx="7">
                  <c:v>0.24769525874360956</c:v>
                </c:pt>
                <c:pt idx="8">
                  <c:v>0.34989961307956496</c:v>
                </c:pt>
                <c:pt idx="9">
                  <c:v>0.51943860086038518</c:v>
                </c:pt>
                <c:pt idx="10">
                  <c:v>0.71903769285766272</c:v>
                </c:pt>
                <c:pt idx="11">
                  <c:v>0.91863678485494027</c:v>
                </c:pt>
                <c:pt idx="12">
                  <c:v>1.0232459475282123</c:v>
                </c:pt>
                <c:pt idx="13">
                  <c:v>0.96793535576993051</c:v>
                </c:pt>
                <c:pt idx="14">
                  <c:v>0.95110169740871431</c:v>
                </c:pt>
                <c:pt idx="15">
                  <c:v>1.0280555642028457</c:v>
                </c:pt>
                <c:pt idx="16">
                  <c:v>1.267333993765847</c:v>
                </c:pt>
                <c:pt idx="17">
                  <c:v>1.7446884487231915</c:v>
                </c:pt>
                <c:pt idx="18">
                  <c:v>2.461321333243538</c:v>
                </c:pt>
                <c:pt idx="19">
                  <c:v>3.3342667596894628</c:v>
                </c:pt>
                <c:pt idx="20">
                  <c:v>4.276951627917569</c:v>
                </c:pt>
                <c:pt idx="21">
                  <c:v>5.3579129755413799</c:v>
                </c:pt>
                <c:pt idx="22">
                  <c:v>6.3547060313591093</c:v>
                </c:pt>
                <c:pt idx="23">
                  <c:v>6.5254474233085871</c:v>
                </c:pt>
                <c:pt idx="24">
                  <c:v>6.1358684726632999</c:v>
                </c:pt>
                <c:pt idx="25">
                  <c:v>5.4132235672996618</c:v>
                </c:pt>
                <c:pt idx="26">
                  <c:v>4.2961900946161018</c:v>
                </c:pt>
                <c:pt idx="27">
                  <c:v>3.9859698191022606</c:v>
                </c:pt>
                <c:pt idx="28">
                  <c:v>3.438875922362735</c:v>
                </c:pt>
                <c:pt idx="29">
                  <c:v>2.5406800083749856</c:v>
                </c:pt>
                <c:pt idx="30">
                  <c:v>2.4925838416286532</c:v>
                </c:pt>
                <c:pt idx="31">
                  <c:v>2.7486959295528712</c:v>
                </c:pt>
                <c:pt idx="32">
                  <c:v>3.0649282259100037</c:v>
                </c:pt>
                <c:pt idx="33">
                  <c:v>3.0264512925129381</c:v>
                </c:pt>
                <c:pt idx="34">
                  <c:v>2.4348684415330553</c:v>
                </c:pt>
                <c:pt idx="35">
                  <c:v>1.6472937110618695</c:v>
                </c:pt>
                <c:pt idx="36">
                  <c:v>0.905410338999699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G$2:$G$38</c:f>
              <c:numCache>
                <c:formatCode>General</c:formatCode>
                <c:ptCount val="37"/>
                <c:pt idx="0">
                  <c:v>0.17233866731083031</c:v>
                </c:pt>
                <c:pt idx="1">
                  <c:v>0.1436155560923586</c:v>
                </c:pt>
                <c:pt idx="2">
                  <c:v>0.11489244487388686</c:v>
                </c:pt>
                <c:pt idx="3">
                  <c:v>0.1953171562856077</c:v>
                </c:pt>
                <c:pt idx="4">
                  <c:v>0.30446497891580021</c:v>
                </c:pt>
                <c:pt idx="5">
                  <c:v>0.39637893481490971</c:v>
                </c:pt>
                <c:pt idx="6">
                  <c:v>0.45956977949554745</c:v>
                </c:pt>
                <c:pt idx="7">
                  <c:v>0.48254826847032484</c:v>
                </c:pt>
                <c:pt idx="8">
                  <c:v>0.50552675744510223</c:v>
                </c:pt>
                <c:pt idx="9">
                  <c:v>0.48829289071401916</c:v>
                </c:pt>
                <c:pt idx="10">
                  <c:v>0.4193574237896871</c:v>
                </c:pt>
                <c:pt idx="11">
                  <c:v>0.44233591276446449</c:v>
                </c:pt>
                <c:pt idx="12">
                  <c:v>0.46531440173924177</c:v>
                </c:pt>
                <c:pt idx="13">
                  <c:v>0.39063431257121539</c:v>
                </c:pt>
                <c:pt idx="14">
                  <c:v>0.31020960115949459</c:v>
                </c:pt>
                <c:pt idx="15">
                  <c:v>0.3791450680838267</c:v>
                </c:pt>
                <c:pt idx="16">
                  <c:v>0.6319084468063777</c:v>
                </c:pt>
                <c:pt idx="17">
                  <c:v>0.93637342572217797</c:v>
                </c:pt>
                <c:pt idx="18">
                  <c:v>1.4189216941925029</c:v>
                </c:pt>
                <c:pt idx="19">
                  <c:v>1.8382791179821898</c:v>
                </c:pt>
                <c:pt idx="20">
                  <c:v>2.3208273864525149</c:v>
                </c:pt>
                <c:pt idx="21">
                  <c:v>3.349114768073802</c:v>
                </c:pt>
                <c:pt idx="22">
                  <c:v>4.0097463260986519</c:v>
                </c:pt>
                <c:pt idx="23">
                  <c:v>4.5497408170059206</c:v>
                </c:pt>
                <c:pt idx="24">
                  <c:v>4.5784639282243917</c:v>
                </c:pt>
                <c:pt idx="25">
                  <c:v>3.4697518351913836</c:v>
                </c:pt>
                <c:pt idx="26">
                  <c:v>2.8320987661413115</c:v>
                </c:pt>
                <c:pt idx="27">
                  <c:v>2.0967871189484355</c:v>
                </c:pt>
                <c:pt idx="28">
                  <c:v>1.1259459597640913</c:v>
                </c:pt>
                <c:pt idx="29">
                  <c:v>0.72956702494918169</c:v>
                </c:pt>
                <c:pt idx="30">
                  <c:v>0.64339769129376645</c:v>
                </c:pt>
                <c:pt idx="31">
                  <c:v>0.68361004699962691</c:v>
                </c:pt>
                <c:pt idx="32">
                  <c:v>0.75829013616765339</c:v>
                </c:pt>
                <c:pt idx="33">
                  <c:v>0.91339493674740058</c:v>
                </c:pt>
                <c:pt idx="34">
                  <c:v>0.87892720328523466</c:v>
                </c:pt>
                <c:pt idx="35">
                  <c:v>0.71233315821809862</c:v>
                </c:pt>
                <c:pt idx="36">
                  <c:v>0.924884181234789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J$2:$J$38</c:f>
              <c:numCache>
                <c:formatCode>General</c:formatCode>
                <c:ptCount val="37"/>
                <c:pt idx="0">
                  <c:v>0.68233062433146752</c:v>
                </c:pt>
                <c:pt idx="1">
                  <c:v>0.48737901737961964</c:v>
                </c:pt>
                <c:pt idx="2">
                  <c:v>0.35302047745334614</c:v>
                </c:pt>
                <c:pt idx="3">
                  <c:v>0.21602745635204759</c:v>
                </c:pt>
                <c:pt idx="4">
                  <c:v>0.12908957757622355</c:v>
                </c:pt>
                <c:pt idx="5">
                  <c:v>0.12645509640119862</c:v>
                </c:pt>
                <c:pt idx="6">
                  <c:v>0.11328269052607376</c:v>
                </c:pt>
                <c:pt idx="7">
                  <c:v>8.9572359950849015E-2</c:v>
                </c:pt>
                <c:pt idx="8">
                  <c:v>0.1080137281760238</c:v>
                </c:pt>
                <c:pt idx="9">
                  <c:v>0.16070335167652322</c:v>
                </c:pt>
                <c:pt idx="10">
                  <c:v>0.21866193752707258</c:v>
                </c:pt>
                <c:pt idx="11">
                  <c:v>0.28452396690269688</c:v>
                </c:pt>
                <c:pt idx="12">
                  <c:v>0.38463425155364572</c:v>
                </c:pt>
                <c:pt idx="13">
                  <c:v>0.545337603230169</c:v>
                </c:pt>
                <c:pt idx="14">
                  <c:v>0.78244090898241636</c:v>
                </c:pt>
                <c:pt idx="15">
                  <c:v>1.1064820935104878</c:v>
                </c:pt>
                <c:pt idx="16">
                  <c:v>1.5227301191644331</c:v>
                </c:pt>
                <c:pt idx="17">
                  <c:v>2.3657640951724237</c:v>
                </c:pt>
                <c:pt idx="18">
                  <c:v>3.4643427451578366</c:v>
                </c:pt>
                <c:pt idx="19">
                  <c:v>4.9185763537716207</c:v>
                </c:pt>
                <c:pt idx="20">
                  <c:v>8.1431813120021843</c:v>
                </c:pt>
                <c:pt idx="21">
                  <c:v>11.062186453929852</c:v>
                </c:pt>
                <c:pt idx="22">
                  <c:v>12.829923322371609</c:v>
                </c:pt>
                <c:pt idx="23">
                  <c:v>14.365825847411168</c:v>
                </c:pt>
                <c:pt idx="24">
                  <c:v>15.319508032770205</c:v>
                </c:pt>
                <c:pt idx="25">
                  <c:v>15.398542468020954</c:v>
                </c:pt>
                <c:pt idx="26">
                  <c:v>16.083507573527449</c:v>
                </c:pt>
                <c:pt idx="27">
                  <c:v>14.294694855685492</c:v>
                </c:pt>
                <c:pt idx="28">
                  <c:v>12.445289070817962</c:v>
                </c:pt>
                <c:pt idx="29">
                  <c:v>10.804007298777405</c:v>
                </c:pt>
                <c:pt idx="30">
                  <c:v>7.518809273521267</c:v>
                </c:pt>
                <c:pt idx="31">
                  <c:v>7.1868646454681206</c:v>
                </c:pt>
                <c:pt idx="32">
                  <c:v>7.7480091357484397</c:v>
                </c:pt>
                <c:pt idx="33">
                  <c:v>8.4988362706305569</c:v>
                </c:pt>
                <c:pt idx="34">
                  <c:v>8.4224363165548315</c:v>
                </c:pt>
                <c:pt idx="35">
                  <c:v>7.2026715325182709</c:v>
                </c:pt>
                <c:pt idx="36">
                  <c:v>5.60354145927811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B$2:$B$38</c:f>
              <c:numCache>
                <c:formatCode>General</c:formatCode>
                <c:ptCount val="37"/>
                <c:pt idx="0">
                  <c:v>0.23592685099219599</c:v>
                </c:pt>
                <c:pt idx="1">
                  <c:v>0.12358073147210266</c:v>
                </c:pt>
                <c:pt idx="2">
                  <c:v>6.7407671712056E-2</c:v>
                </c:pt>
                <c:pt idx="3">
                  <c:v>0.10111150756808399</c:v>
                </c:pt>
                <c:pt idx="4">
                  <c:v>0.10111150756808399</c:v>
                </c:pt>
                <c:pt idx="5">
                  <c:v>0.14604995537612134</c:v>
                </c:pt>
                <c:pt idx="6">
                  <c:v>0.19098840318415863</c:v>
                </c:pt>
                <c:pt idx="7">
                  <c:v>0.16851917928013999</c:v>
                </c:pt>
                <c:pt idx="8">
                  <c:v>0.38197680636831727</c:v>
                </c:pt>
                <c:pt idx="9">
                  <c:v>0.71901516492859729</c:v>
                </c:pt>
                <c:pt idx="10">
                  <c:v>0.84259589640069998</c:v>
                </c:pt>
                <c:pt idx="11">
                  <c:v>1.145930419104952</c:v>
                </c:pt>
                <c:pt idx="12">
                  <c:v>1.4717341657132226</c:v>
                </c:pt>
                <c:pt idx="13">
                  <c:v>1.3818572700971479</c:v>
                </c:pt>
                <c:pt idx="14">
                  <c:v>1.3144495983850919</c:v>
                </c:pt>
                <c:pt idx="15">
                  <c:v>1.550376449377288</c:v>
                </c:pt>
                <c:pt idx="16">
                  <c:v>1.6851917928014</c:v>
                </c:pt>
                <c:pt idx="17">
                  <c:v>1.8424763601295304</c:v>
                </c:pt>
                <c:pt idx="18">
                  <c:v>2.6963068684822398</c:v>
                </c:pt>
                <c:pt idx="19">
                  <c:v>4.6511293481318638</c:v>
                </c:pt>
                <c:pt idx="20">
                  <c:v>6.4149634245973282</c:v>
                </c:pt>
                <c:pt idx="21">
                  <c:v>7.8192899185984963</c:v>
                </c:pt>
                <c:pt idx="22">
                  <c:v>8.628181979143168</c:v>
                </c:pt>
                <c:pt idx="23">
                  <c:v>7.6507707393183555</c:v>
                </c:pt>
                <c:pt idx="24">
                  <c:v>5.7970597672368154</c:v>
                </c:pt>
                <c:pt idx="25">
                  <c:v>3.6175450485470053</c:v>
                </c:pt>
                <c:pt idx="26">
                  <c:v>2.3255646740659319</c:v>
                </c:pt>
                <c:pt idx="27">
                  <c:v>1.8537109720815399</c:v>
                </c:pt>
                <c:pt idx="28">
                  <c:v>1.4267957179051851</c:v>
                </c:pt>
                <c:pt idx="29">
                  <c:v>1.3818572700971479</c:v>
                </c:pt>
                <c:pt idx="30">
                  <c:v>1.7413648525614467</c:v>
                </c:pt>
                <c:pt idx="31">
                  <c:v>2.3255646740659319</c:v>
                </c:pt>
                <c:pt idx="32">
                  <c:v>2.9771721672824731</c:v>
                </c:pt>
                <c:pt idx="33">
                  <c:v>3.5164335409789214</c:v>
                </c:pt>
                <c:pt idx="34">
                  <c:v>3.9096449592992482</c:v>
                </c:pt>
                <c:pt idx="35">
                  <c:v>4.2017448700514901</c:v>
                </c:pt>
                <c:pt idx="36">
                  <c:v>3.3816181975548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L$2:$L$38</c:f>
              <c:numCache>
                <c:formatCode>General</c:formatCode>
                <c:ptCount val="37"/>
                <c:pt idx="0">
                  <c:v>0.31147665033612915</c:v>
                </c:pt>
                <c:pt idx="1">
                  <c:v>0.21986587082550288</c:v>
                </c:pt>
                <c:pt idx="2">
                  <c:v>0.25651018262975339</c:v>
                </c:pt>
                <c:pt idx="3">
                  <c:v>0.23818802672762815</c:v>
                </c:pt>
                <c:pt idx="4">
                  <c:v>0.23818802672762815</c:v>
                </c:pt>
                <c:pt idx="5">
                  <c:v>0.1282550913148767</c:v>
                </c:pt>
                <c:pt idx="6">
                  <c:v>7.3288623608500969E-2</c:v>
                </c:pt>
                <c:pt idx="7">
                  <c:v>0.10993293541275144</c:v>
                </c:pt>
                <c:pt idx="8">
                  <c:v>7.3288623608500969E-2</c:v>
                </c:pt>
                <c:pt idx="9">
                  <c:v>7.3288623608500969E-2</c:v>
                </c:pt>
                <c:pt idx="10">
                  <c:v>0.21986587082550288</c:v>
                </c:pt>
                <c:pt idx="11">
                  <c:v>0.40308742984675533</c:v>
                </c:pt>
                <c:pt idx="12">
                  <c:v>0.65959761247650872</c:v>
                </c:pt>
                <c:pt idx="13">
                  <c:v>1.8871820579188998</c:v>
                </c:pt>
                <c:pt idx="14">
                  <c:v>2.5467796703954084</c:v>
                </c:pt>
                <c:pt idx="15">
                  <c:v>3.2613437505782934</c:v>
                </c:pt>
                <c:pt idx="16">
                  <c:v>3.3346323741867936</c:v>
                </c:pt>
                <c:pt idx="17">
                  <c:v>3.4995317773059207</c:v>
                </c:pt>
                <c:pt idx="18">
                  <c:v>6.4493988775480853</c:v>
                </c:pt>
                <c:pt idx="19">
                  <c:v>10.132152213875258</c:v>
                </c:pt>
                <c:pt idx="20">
                  <c:v>11.909401336381407</c:v>
                </c:pt>
                <c:pt idx="21">
                  <c:v>13.613361835279056</c:v>
                </c:pt>
                <c:pt idx="22">
                  <c:v>17.974034939984861</c:v>
                </c:pt>
                <c:pt idx="23">
                  <c:v>19.677995438882508</c:v>
                </c:pt>
                <c:pt idx="24">
                  <c:v>21.400278093682282</c:v>
                </c:pt>
                <c:pt idx="25">
                  <c:v>18.871820579188999</c:v>
                </c:pt>
                <c:pt idx="26">
                  <c:v>12.312488766228164</c:v>
                </c:pt>
                <c:pt idx="27">
                  <c:v>9.9672528107561327</c:v>
                </c:pt>
                <c:pt idx="28">
                  <c:v>11.213159412100648</c:v>
                </c:pt>
                <c:pt idx="29">
                  <c:v>12.568998948857915</c:v>
                </c:pt>
                <c:pt idx="30">
                  <c:v>8.7579905212158664</c:v>
                </c:pt>
                <c:pt idx="31">
                  <c:v>5.4600024588333218</c:v>
                </c:pt>
                <c:pt idx="32">
                  <c:v>5.0385928730844416</c:v>
                </c:pt>
                <c:pt idx="33">
                  <c:v>5.1118814966929422</c:v>
                </c:pt>
                <c:pt idx="34">
                  <c:v>6.9624192428075924</c:v>
                </c:pt>
                <c:pt idx="35">
                  <c:v>8.2816144677606101</c:v>
                </c:pt>
                <c:pt idx="36">
                  <c:v>8.5198024944882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8</c:f>
              <c:numCache>
                <c:formatCode>General</c:formatCode>
                <c:ptCount val="37"/>
                <c:pt idx="0">
                  <c:v>0.41831621638306304</c:v>
                </c:pt>
                <c:pt idx="1">
                  <c:v>0.36972392862139414</c:v>
                </c:pt>
                <c:pt idx="2">
                  <c:v>0.5302897490512567</c:v>
                </c:pt>
                <c:pt idx="3">
                  <c:v>1.1408624083174448</c:v>
                </c:pt>
                <c:pt idx="4">
                  <c:v>1.9711567165929182</c:v>
                </c:pt>
                <c:pt idx="5">
                  <c:v>2.6324343717843259</c:v>
                </c:pt>
                <c:pt idx="6">
                  <c:v>3.1394843310365235</c:v>
                </c:pt>
                <c:pt idx="7">
                  <c:v>3.1817384943075404</c:v>
                </c:pt>
                <c:pt idx="8">
                  <c:v>2.8331416473216544</c:v>
                </c:pt>
                <c:pt idx="9">
                  <c:v>2.4655304268638112</c:v>
                </c:pt>
                <c:pt idx="10">
                  <c:v>2.0218617125181382</c:v>
                </c:pt>
                <c:pt idx="11">
                  <c:v>1.6288979940976849</c:v>
                </c:pt>
                <c:pt idx="12">
                  <c:v>1.2380469838407826</c:v>
                </c:pt>
                <c:pt idx="13">
                  <c:v>0.8809993042006935</c:v>
                </c:pt>
                <c:pt idx="14">
                  <c:v>0.68874286131756846</c:v>
                </c:pt>
                <c:pt idx="15">
                  <c:v>0.574656620485824</c:v>
                </c:pt>
                <c:pt idx="16">
                  <c:v>0.53240245721480761</c:v>
                </c:pt>
                <c:pt idx="17">
                  <c:v>0.48381016945313859</c:v>
                </c:pt>
                <c:pt idx="18">
                  <c:v>0.43310517352791877</c:v>
                </c:pt>
                <c:pt idx="19">
                  <c:v>0.56198037150451907</c:v>
                </c:pt>
                <c:pt idx="20">
                  <c:v>0.67606661233626353</c:v>
                </c:pt>
                <c:pt idx="21">
                  <c:v>0.7056445266259751</c:v>
                </c:pt>
                <c:pt idx="22">
                  <c:v>0.95283138176142146</c:v>
                </c:pt>
                <c:pt idx="23">
                  <c:v>1.2739630226211467</c:v>
                </c:pt>
                <c:pt idx="24">
                  <c:v>1.6901665308406588</c:v>
                </c:pt>
                <c:pt idx="25">
                  <c:v>2.1465114941676369</c:v>
                </c:pt>
                <c:pt idx="26">
                  <c:v>2.583842084022657</c:v>
                </c:pt>
                <c:pt idx="27">
                  <c:v>3.3296280657560979</c:v>
                </c:pt>
                <c:pt idx="28">
                  <c:v>4.4979556801997029</c:v>
                </c:pt>
                <c:pt idx="29">
                  <c:v>5.6198037150451903</c:v>
                </c:pt>
                <c:pt idx="30">
                  <c:v>6.3909421947412408</c:v>
                </c:pt>
                <c:pt idx="31">
                  <c:v>6.6529180070215439</c:v>
                </c:pt>
                <c:pt idx="32">
                  <c:v>5.9937530599936863</c:v>
                </c:pt>
                <c:pt idx="33">
                  <c:v>4.5317590108165167</c:v>
                </c:pt>
                <c:pt idx="34">
                  <c:v>3.0739903779664481</c:v>
                </c:pt>
                <c:pt idx="35">
                  <c:v>2.1613004513124925</c:v>
                </c:pt>
                <c:pt idx="36">
                  <c:v>1.35424593283607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402A-4B81-99E3-A430AA945502}"/>
              </c:ext>
            </c:extLst>
          </c:dPt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H$2:$H$38</c:f>
              <c:numCache>
                <c:formatCode>General</c:formatCode>
                <c:ptCount val="37"/>
                <c:pt idx="0">
                  <c:v>0.42609548009228287</c:v>
                </c:pt>
                <c:pt idx="1">
                  <c:v>0.62591956730797416</c:v>
                </c:pt>
                <c:pt idx="2">
                  <c:v>0.90067768722954977</c:v>
                </c:pt>
                <c:pt idx="3">
                  <c:v>1.257716313651704</c:v>
                </c:pt>
                <c:pt idx="4">
                  <c:v>1.6279785929043082</c:v>
                </c:pt>
                <c:pt idx="5">
                  <c:v>1.7837238373518325</c:v>
                </c:pt>
                <c:pt idx="6">
                  <c:v>1.8410263329504497</c:v>
                </c:pt>
                <c:pt idx="7">
                  <c:v>2.0467275992018967</c:v>
                </c:pt>
                <c:pt idx="8">
                  <c:v>2.3141392453287777</c:v>
                </c:pt>
                <c:pt idx="9">
                  <c:v>2.5536342910358192</c:v>
                </c:pt>
                <c:pt idx="10">
                  <c:v>2.8460239480646621</c:v>
                </c:pt>
                <c:pt idx="11">
                  <c:v>2.9591596445029578</c:v>
                </c:pt>
                <c:pt idx="12">
                  <c:v>2.7637434415640829</c:v>
                </c:pt>
                <c:pt idx="13">
                  <c:v>2.4860467321246298</c:v>
                </c:pt>
                <c:pt idx="14">
                  <c:v>2.3200164243645336</c:v>
                </c:pt>
                <c:pt idx="15">
                  <c:v>2.4860467321246298</c:v>
                </c:pt>
                <c:pt idx="16">
                  <c:v>2.8342695899931507</c:v>
                </c:pt>
                <c:pt idx="17">
                  <c:v>3.2295098801477167</c:v>
                </c:pt>
                <c:pt idx="18">
                  <c:v>3.4190489040508356</c:v>
                </c:pt>
                <c:pt idx="19">
                  <c:v>3.1633916159954656</c:v>
                </c:pt>
                <c:pt idx="20">
                  <c:v>2.8680633694487456</c:v>
                </c:pt>
                <c:pt idx="21">
                  <c:v>2.671177871750932</c:v>
                </c:pt>
                <c:pt idx="22">
                  <c:v>2.5080861535087133</c:v>
                </c:pt>
                <c:pt idx="23">
                  <c:v>2.4243363522491954</c:v>
                </c:pt>
                <c:pt idx="24">
                  <c:v>2.3479330247843726</c:v>
                </c:pt>
                <c:pt idx="25">
                  <c:v>2.3582180880969448</c:v>
                </c:pt>
                <c:pt idx="28">
                  <c:v>5.1807333200185841</c:v>
                </c:pt>
                <c:pt idx="29">
                  <c:v>5.5318947674049834</c:v>
                </c:pt>
                <c:pt idx="30">
                  <c:v>4.4989805518709316</c:v>
                </c:pt>
                <c:pt idx="31">
                  <c:v>3.9494643120277808</c:v>
                </c:pt>
                <c:pt idx="32">
                  <c:v>4.0567228294303206</c:v>
                </c:pt>
                <c:pt idx="33">
                  <c:v>3.3250140394787451</c:v>
                </c:pt>
                <c:pt idx="34">
                  <c:v>2.5800815966967199</c:v>
                </c:pt>
                <c:pt idx="35">
                  <c:v>2.3009155924983276</c:v>
                </c:pt>
                <c:pt idx="36">
                  <c:v>2.52424839585704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0982784"/>
        <c:axId val="400481576"/>
      </c:lineChart>
      <c:catAx>
        <c:axId val="3609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1576"/>
        <c:crosses val="autoZero"/>
        <c:auto val="1"/>
        <c:lblAlgn val="ctr"/>
        <c:lblOffset val="100"/>
        <c:tickLblSkip val="1"/>
        <c:noMultiLvlLbl val="1"/>
      </c:catAx>
      <c:valAx>
        <c:axId val="400481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6098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I$2:$I$38</c:f>
              <c:numCache>
                <c:formatCode>General</c:formatCode>
                <c:ptCount val="37"/>
                <c:pt idx="0">
                  <c:v>0.1735743471000934</c:v>
                </c:pt>
                <c:pt idx="1">
                  <c:v>8.6787173550046698E-2</c:v>
                </c:pt>
                <c:pt idx="2">
                  <c:v>6.0751021485032683E-2</c:v>
                </c:pt>
                <c:pt idx="3">
                  <c:v>9.5465890905051351E-2</c:v>
                </c:pt>
                <c:pt idx="4">
                  <c:v>0.18225306445509803</c:v>
                </c:pt>
                <c:pt idx="5">
                  <c:v>0.19961049916510737</c:v>
                </c:pt>
                <c:pt idx="6">
                  <c:v>0.1909317818101027</c:v>
                </c:pt>
                <c:pt idx="7">
                  <c:v>0.35582741155519143</c:v>
                </c:pt>
                <c:pt idx="8">
                  <c:v>0.2777189553601494</c:v>
                </c:pt>
                <c:pt idx="9">
                  <c:v>0.34714869420018679</c:v>
                </c:pt>
                <c:pt idx="10">
                  <c:v>0.41657843304022413</c:v>
                </c:pt>
                <c:pt idx="11">
                  <c:v>0.3384699768451821</c:v>
                </c:pt>
                <c:pt idx="12">
                  <c:v>0.46865073717025213</c:v>
                </c:pt>
                <c:pt idx="13">
                  <c:v>0.48600817188026146</c:v>
                </c:pt>
                <c:pt idx="14">
                  <c:v>0.53808047601028952</c:v>
                </c:pt>
                <c:pt idx="15">
                  <c:v>0.78976327930542489</c:v>
                </c:pt>
                <c:pt idx="16">
                  <c:v>0.93730147434050426</c:v>
                </c:pt>
                <c:pt idx="17">
                  <c:v>1.2931288858956957</c:v>
                </c:pt>
                <c:pt idx="18">
                  <c:v>1.3278437553157143</c:v>
                </c:pt>
                <c:pt idx="19">
                  <c:v>1.7010286015809153</c:v>
                </c:pt>
                <c:pt idx="20">
                  <c:v>2.256466512301214</c:v>
                </c:pt>
                <c:pt idx="21">
                  <c:v>2.5775790544363866</c:v>
                </c:pt>
                <c:pt idx="22">
                  <c:v>3.0375510742516338</c:v>
                </c:pt>
                <c:pt idx="23">
                  <c:v>2.6904023800514474</c:v>
                </c:pt>
                <c:pt idx="24">
                  <c:v>2.1696793387511675</c:v>
                </c:pt>
                <c:pt idx="25">
                  <c:v>1.8919603833910179</c:v>
                </c:pt>
                <c:pt idx="26">
                  <c:v>1.3452011900257237</c:v>
                </c:pt>
                <c:pt idx="27">
                  <c:v>1.128233256150607</c:v>
                </c:pt>
                <c:pt idx="28">
                  <c:v>1.206341712345649</c:v>
                </c:pt>
                <c:pt idx="29">
                  <c:v>1.5274542544808216</c:v>
                </c:pt>
                <c:pt idx="30">
                  <c:v>2.0047837090060785</c:v>
                </c:pt>
                <c:pt idx="31">
                  <c:v>2.6122939238564054</c:v>
                </c:pt>
                <c:pt idx="32">
                  <c:v>2.7858682709564988</c:v>
                </c:pt>
                <c:pt idx="33">
                  <c:v>2.334574968496256</c:v>
                </c:pt>
                <c:pt idx="34">
                  <c:v>1.3972734941557516</c:v>
                </c:pt>
                <c:pt idx="35">
                  <c:v>1.0067312131805417</c:v>
                </c:pt>
                <c:pt idx="36">
                  <c:v>1.050124799955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C$2:$C$38</c:f>
              <c:numCache>
                <c:formatCode>General</c:formatCode>
                <c:ptCount val="37"/>
                <c:pt idx="0">
                  <c:v>6.5457639135588858E-2</c:v>
                </c:pt>
                <c:pt idx="1">
                  <c:v>2.8053273915252371E-2</c:v>
                </c:pt>
                <c:pt idx="2">
                  <c:v>2.8053273915252371E-2</c:v>
                </c:pt>
                <c:pt idx="3">
                  <c:v>2.8053273915252371E-2</c:v>
                </c:pt>
                <c:pt idx="4">
                  <c:v>3.7404365220336494E-2</c:v>
                </c:pt>
                <c:pt idx="5">
                  <c:v>3.7404365220336494E-2</c:v>
                </c:pt>
                <c:pt idx="6">
                  <c:v>4.6755456525420618E-2</c:v>
                </c:pt>
                <c:pt idx="7">
                  <c:v>8.4159821745757105E-2</c:v>
                </c:pt>
                <c:pt idx="8">
                  <c:v>7.4808730440672988E-2</c:v>
                </c:pt>
                <c:pt idx="9">
                  <c:v>1.8702182610168247E-2</c:v>
                </c:pt>
                <c:pt idx="10">
                  <c:v>5.6106547830504741E-2</c:v>
                </c:pt>
                <c:pt idx="11">
                  <c:v>0.14026636957626185</c:v>
                </c:pt>
                <c:pt idx="12">
                  <c:v>0.1215641869660936</c:v>
                </c:pt>
                <c:pt idx="13">
                  <c:v>0.14026636957626185</c:v>
                </c:pt>
                <c:pt idx="14">
                  <c:v>0.2431283739321872</c:v>
                </c:pt>
                <c:pt idx="15">
                  <c:v>0.4956078391694585</c:v>
                </c:pt>
                <c:pt idx="16">
                  <c:v>0.81354494354231877</c:v>
                </c:pt>
                <c:pt idx="17">
                  <c:v>1.5335789740337964</c:v>
                </c:pt>
                <c:pt idx="18">
                  <c:v>2.8520828480506575</c:v>
                </c:pt>
                <c:pt idx="19">
                  <c:v>4.3108530916437804</c:v>
                </c:pt>
                <c:pt idx="20">
                  <c:v>6.4241997265927928</c:v>
                </c:pt>
                <c:pt idx="21">
                  <c:v>7.1629359396944379</c:v>
                </c:pt>
                <c:pt idx="22">
                  <c:v>7.7988101484401584</c:v>
                </c:pt>
                <c:pt idx="23">
                  <c:v>7.5837350484232235</c:v>
                </c:pt>
                <c:pt idx="24">
                  <c:v>6.7047324657453169</c:v>
                </c:pt>
                <c:pt idx="25">
                  <c:v>5.0308871221352582</c:v>
                </c:pt>
                <c:pt idx="26">
                  <c:v>3.8152452524743219</c:v>
                </c:pt>
                <c:pt idx="27">
                  <c:v>3.0765090393726764</c:v>
                </c:pt>
                <c:pt idx="28">
                  <c:v>2.2629640958303576</c:v>
                </c:pt>
                <c:pt idx="29">
                  <c:v>1.4961746088134598</c:v>
                </c:pt>
                <c:pt idx="30">
                  <c:v>1.5242278827287119</c:v>
                </c:pt>
                <c:pt idx="31">
                  <c:v>2.8333806654404889</c:v>
                </c:pt>
                <c:pt idx="32">
                  <c:v>3.6562767002878922</c:v>
                </c:pt>
                <c:pt idx="33">
                  <c:v>3.4131483263557048</c:v>
                </c:pt>
                <c:pt idx="34">
                  <c:v>3.1887221350336858</c:v>
                </c:pt>
                <c:pt idx="35">
                  <c:v>2.6089544741184705</c:v>
                </c:pt>
                <c:pt idx="36">
                  <c:v>1.84216498710157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D$2:$D$38</c:f>
              <c:numCache>
                <c:formatCode>General</c:formatCode>
                <c:ptCount val="37"/>
                <c:pt idx="0">
                  <c:v>0.3104565202226921</c:v>
                </c:pt>
                <c:pt idx="1">
                  <c:v>0.24509725280738848</c:v>
                </c:pt>
                <c:pt idx="2">
                  <c:v>0.18419429907949197</c:v>
                </c:pt>
                <c:pt idx="3">
                  <c:v>0.21835937068294611</c:v>
                </c:pt>
                <c:pt idx="4">
                  <c:v>0.43968961715749694</c:v>
                </c:pt>
                <c:pt idx="5">
                  <c:v>0.53624308038464996</c:v>
                </c:pt>
                <c:pt idx="6">
                  <c:v>0.71598106577673493</c:v>
                </c:pt>
                <c:pt idx="7">
                  <c:v>1.2507387082655825</c:v>
                </c:pt>
                <c:pt idx="8">
                  <c:v>1.1259619250181847</c:v>
                </c:pt>
                <c:pt idx="9">
                  <c:v>1.0531754681238692</c:v>
                </c:pt>
                <c:pt idx="10">
                  <c:v>0.93285499856387855</c:v>
                </c:pt>
                <c:pt idx="11">
                  <c:v>0.75757332685920087</c:v>
                </c:pt>
                <c:pt idx="12">
                  <c:v>0.62536935413279127</c:v>
                </c:pt>
                <c:pt idx="13">
                  <c:v>0.51099063615600993</c:v>
                </c:pt>
                <c:pt idx="14">
                  <c:v>0.37581578763799567</c:v>
                </c:pt>
                <c:pt idx="15">
                  <c:v>0.31194195811849446</c:v>
                </c:pt>
                <c:pt idx="16">
                  <c:v>0.30302933074368033</c:v>
                </c:pt>
                <c:pt idx="17">
                  <c:v>0.31342739601429681</c:v>
                </c:pt>
                <c:pt idx="18">
                  <c:v>0.35947597078416976</c:v>
                </c:pt>
                <c:pt idx="19">
                  <c:v>0.38027210132540279</c:v>
                </c:pt>
                <c:pt idx="20">
                  <c:v>0.49613625719798643</c:v>
                </c:pt>
                <c:pt idx="21">
                  <c:v>0.70855387629772315</c:v>
                </c:pt>
                <c:pt idx="22">
                  <c:v>0.97296182175054213</c:v>
                </c:pt>
                <c:pt idx="23">
                  <c:v>1.3784863673045851</c:v>
                </c:pt>
                <c:pt idx="24">
                  <c:v>1.604272927466543</c:v>
                </c:pt>
                <c:pt idx="25">
                  <c:v>1.7750982854838135</c:v>
                </c:pt>
                <c:pt idx="26">
                  <c:v>2.0320790414576209</c:v>
                </c:pt>
                <c:pt idx="27">
                  <c:v>2.3039141763894517</c:v>
                </c:pt>
                <c:pt idx="28">
                  <c:v>2.3618462543257435</c:v>
                </c:pt>
                <c:pt idx="29">
                  <c:v>2.6366522650491793</c:v>
                </c:pt>
                <c:pt idx="30">
                  <c:v>3.0837690716856883</c:v>
                </c:pt>
                <c:pt idx="31">
                  <c:v>3.1595264043716083</c:v>
                </c:pt>
                <c:pt idx="32">
                  <c:v>3.180322534912841</c:v>
                </c:pt>
                <c:pt idx="33">
                  <c:v>2.7614290482965771</c:v>
                </c:pt>
                <c:pt idx="34">
                  <c:v>2.1895354584126707</c:v>
                </c:pt>
                <c:pt idx="35">
                  <c:v>1.7320205865055454</c:v>
                </c:pt>
                <c:pt idx="36">
                  <c:v>1.28936009355644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F$2:$F$38</c:f>
              <c:numCache>
                <c:formatCode>General</c:formatCode>
                <c:ptCount val="37"/>
                <c:pt idx="0">
                  <c:v>0.29677327970086864</c:v>
                </c:pt>
                <c:pt idx="1">
                  <c:v>0.21126233470231326</c:v>
                </c:pt>
                <c:pt idx="2">
                  <c:v>0.15425503803660967</c:v>
                </c:pt>
                <c:pt idx="3">
                  <c:v>0.13748818607610863</c:v>
                </c:pt>
                <c:pt idx="4">
                  <c:v>0.19449548274181222</c:v>
                </c:pt>
                <c:pt idx="5">
                  <c:v>0.2598862053877663</c:v>
                </c:pt>
                <c:pt idx="6">
                  <c:v>0.35545726156262231</c:v>
                </c:pt>
                <c:pt idx="7">
                  <c:v>0.53486257753998356</c:v>
                </c:pt>
                <c:pt idx="8">
                  <c:v>0.57342633704913593</c:v>
                </c:pt>
                <c:pt idx="9">
                  <c:v>0.70756115273314446</c:v>
                </c:pt>
                <c:pt idx="10">
                  <c:v>0.67738081920424253</c:v>
                </c:pt>
                <c:pt idx="11">
                  <c:v>0.65558391165559116</c:v>
                </c:pt>
                <c:pt idx="12">
                  <c:v>0.64887717087139074</c:v>
                </c:pt>
                <c:pt idx="13">
                  <c:v>0.56001285548073509</c:v>
                </c:pt>
                <c:pt idx="14">
                  <c:v>0.45270500293352844</c:v>
                </c:pt>
                <c:pt idx="15">
                  <c:v>0.40240444705202522</c:v>
                </c:pt>
                <c:pt idx="16">
                  <c:v>0.47785528087427998</c:v>
                </c:pt>
                <c:pt idx="17">
                  <c:v>0.45941174371772886</c:v>
                </c:pt>
                <c:pt idx="18">
                  <c:v>0.47785528087427998</c:v>
                </c:pt>
                <c:pt idx="19">
                  <c:v>0.65390722645954102</c:v>
                </c:pt>
                <c:pt idx="20">
                  <c:v>0.67402744881214238</c:v>
                </c:pt>
                <c:pt idx="21">
                  <c:v>0.83331254243690223</c:v>
                </c:pt>
                <c:pt idx="22">
                  <c:v>0.87355298714210494</c:v>
                </c:pt>
                <c:pt idx="23">
                  <c:v>1.0663717846878669</c:v>
                </c:pt>
                <c:pt idx="24">
                  <c:v>1.3581150088005851</c:v>
                </c:pt>
                <c:pt idx="25">
                  <c:v>1.626384640168602</c:v>
                </c:pt>
                <c:pt idx="26">
                  <c:v>1.735369177911859</c:v>
                </c:pt>
                <c:pt idx="27">
                  <c:v>2.3339457929017464</c:v>
                </c:pt>
                <c:pt idx="28">
                  <c:v>3.4640316150395178</c:v>
                </c:pt>
                <c:pt idx="29">
                  <c:v>4.0559014892452048</c:v>
                </c:pt>
                <c:pt idx="30">
                  <c:v>4.4029753248275769</c:v>
                </c:pt>
                <c:pt idx="31">
                  <c:v>4.3962685840433755</c:v>
                </c:pt>
                <c:pt idx="32">
                  <c:v>3.7624815799364359</c:v>
                </c:pt>
                <c:pt idx="33">
                  <c:v>3.3097765770029079</c:v>
                </c:pt>
                <c:pt idx="34">
                  <c:v>2.6340724429947153</c:v>
                </c:pt>
                <c:pt idx="35">
                  <c:v>2.2249612551584899</c:v>
                </c:pt>
                <c:pt idx="36">
                  <c:v>1.6448281773251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K$2:$K$38</c:f>
              <c:numCache>
                <c:formatCode>General</c:formatCode>
                <c:ptCount val="37"/>
                <c:pt idx="0">
                  <c:v>7.1651377968593361E-2</c:v>
                </c:pt>
                <c:pt idx="1">
                  <c:v>0.11259502252207527</c:v>
                </c:pt>
                <c:pt idx="2">
                  <c:v>7.1651377968593361E-2</c:v>
                </c:pt>
                <c:pt idx="3">
                  <c:v>2.0471822276740961E-2</c:v>
                </c:pt>
                <c:pt idx="4">
                  <c:v>5.1179555691852403E-2</c:v>
                </c:pt>
                <c:pt idx="5">
                  <c:v>7.1651377968593361E-2</c:v>
                </c:pt>
                <c:pt idx="6">
                  <c:v>4.0943644553481921E-2</c:v>
                </c:pt>
                <c:pt idx="7">
                  <c:v>0.13306684479881625</c:v>
                </c:pt>
                <c:pt idx="8">
                  <c:v>7.1651377968593361E-2</c:v>
                </c:pt>
                <c:pt idx="9">
                  <c:v>0.15353866707555719</c:v>
                </c:pt>
                <c:pt idx="10">
                  <c:v>0.32754915642785537</c:v>
                </c:pt>
                <c:pt idx="11">
                  <c:v>0.40943644553481923</c:v>
                </c:pt>
                <c:pt idx="12">
                  <c:v>0.46061600122667157</c:v>
                </c:pt>
                <c:pt idx="13">
                  <c:v>0.71651377968593355</c:v>
                </c:pt>
                <c:pt idx="14">
                  <c:v>0.65509831285571074</c:v>
                </c:pt>
                <c:pt idx="15">
                  <c:v>1.218073425466087</c:v>
                </c:pt>
                <c:pt idx="16">
                  <c:v>2.12906951678106</c:v>
                </c:pt>
                <c:pt idx="17">
                  <c:v>4.0124771662412284</c:v>
                </c:pt>
                <c:pt idx="18">
                  <c:v>6.6840499733559238</c:v>
                </c:pt>
                <c:pt idx="19">
                  <c:v>8.9564222460741689</c:v>
                </c:pt>
                <c:pt idx="20">
                  <c:v>10.205203404955368</c:v>
                </c:pt>
                <c:pt idx="21">
                  <c:v>12.672057989302653</c:v>
                </c:pt>
                <c:pt idx="22">
                  <c:v>13.603525902894367</c:v>
                </c:pt>
                <c:pt idx="23">
                  <c:v>12.569698877918951</c:v>
                </c:pt>
                <c:pt idx="24">
                  <c:v>10.287090694062332</c:v>
                </c:pt>
                <c:pt idx="25">
                  <c:v>8.6493449119230554</c:v>
                </c:pt>
                <c:pt idx="26">
                  <c:v>6.4076803726199199</c:v>
                </c:pt>
                <c:pt idx="27">
                  <c:v>5.148663302600351</c:v>
                </c:pt>
                <c:pt idx="28">
                  <c:v>4.3400263226690834</c:v>
                </c:pt>
                <c:pt idx="29">
                  <c:v>3.8794103214424118</c:v>
                </c:pt>
                <c:pt idx="30">
                  <c:v>4.728990945927162</c:v>
                </c:pt>
                <c:pt idx="31">
                  <c:v>6.1210748607455461</c:v>
                </c:pt>
                <c:pt idx="32">
                  <c:v>6.8478245515698513</c:v>
                </c:pt>
                <c:pt idx="33">
                  <c:v>6.6021626842489605</c:v>
                </c:pt>
                <c:pt idx="34">
                  <c:v>5.9880080159467308</c:v>
                </c:pt>
                <c:pt idx="35">
                  <c:v>4.309318589253972</c:v>
                </c:pt>
                <c:pt idx="36">
                  <c:v>2.6818087182530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E$2:$E$38</c:f>
              <c:numCache>
                <c:formatCode>General</c:formatCode>
                <c:ptCount val="37"/>
                <c:pt idx="0">
                  <c:v>0.1154308001911967</c:v>
                </c:pt>
                <c:pt idx="1">
                  <c:v>7.3346654288156232E-2</c:v>
                </c:pt>
                <c:pt idx="2">
                  <c:v>6.8537037613523033E-2</c:v>
                </c:pt>
                <c:pt idx="3">
                  <c:v>7.2144250119497932E-2</c:v>
                </c:pt>
                <c:pt idx="4">
                  <c:v>5.7715400095598349E-2</c:v>
                </c:pt>
                <c:pt idx="5">
                  <c:v>7.0941845950839633E-2</c:v>
                </c:pt>
                <c:pt idx="6">
                  <c:v>9.2585120986689015E-2</c:v>
                </c:pt>
                <c:pt idx="7">
                  <c:v>0.15511013775692056</c:v>
                </c:pt>
                <c:pt idx="8">
                  <c:v>0.1947894753226444</c:v>
                </c:pt>
                <c:pt idx="9">
                  <c:v>0.32464912553774067</c:v>
                </c:pt>
                <c:pt idx="10">
                  <c:v>0.394388567319922</c:v>
                </c:pt>
                <c:pt idx="11">
                  <c:v>0.52424821753501838</c:v>
                </c:pt>
                <c:pt idx="12">
                  <c:v>0.49899772999319397</c:v>
                </c:pt>
                <c:pt idx="13">
                  <c:v>0.46893762577673653</c:v>
                </c:pt>
                <c:pt idx="14">
                  <c:v>0.48216407163197783</c:v>
                </c:pt>
                <c:pt idx="15">
                  <c:v>0.54589149257086766</c:v>
                </c:pt>
                <c:pt idx="16">
                  <c:v>0.72144250119497932</c:v>
                </c:pt>
                <c:pt idx="17">
                  <c:v>1.0232459475282123</c:v>
                </c:pt>
                <c:pt idx="18">
                  <c:v>1.4380753857153254</c:v>
                </c:pt>
                <c:pt idx="19">
                  <c:v>1.8961913739741372</c:v>
                </c:pt>
                <c:pt idx="20">
                  <c:v>2.380760253943432</c:v>
                </c:pt>
                <c:pt idx="21">
                  <c:v>2.9771527215979483</c:v>
                </c:pt>
                <c:pt idx="22">
                  <c:v>3.3775533097611614</c:v>
                </c:pt>
                <c:pt idx="23">
                  <c:v>3.1478941135474265</c:v>
                </c:pt>
                <c:pt idx="24">
                  <c:v>2.9879743591158725</c:v>
                </c:pt>
                <c:pt idx="25">
                  <c:v>2.4252492081837889</c:v>
                </c:pt>
                <c:pt idx="26">
                  <c:v>1.8709408864323132</c:v>
                </c:pt>
                <c:pt idx="27">
                  <c:v>2.1150289326699476</c:v>
                </c:pt>
                <c:pt idx="28">
                  <c:v>1.3238469896927871</c:v>
                </c:pt>
                <c:pt idx="29">
                  <c:v>1.2168330186821985</c:v>
                </c:pt>
                <c:pt idx="30">
                  <c:v>1.2757508229464551</c:v>
                </c:pt>
                <c:pt idx="31">
                  <c:v>1.4729451066064161</c:v>
                </c:pt>
                <c:pt idx="32">
                  <c:v>1.5919831193035876</c:v>
                </c:pt>
                <c:pt idx="33">
                  <c:v>1.4344681732093505</c:v>
                </c:pt>
                <c:pt idx="34">
                  <c:v>1.0004002683237045</c:v>
                </c:pt>
                <c:pt idx="35">
                  <c:v>0.64689344273816485</c:v>
                </c:pt>
                <c:pt idx="36">
                  <c:v>0.25851689626153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G$2:$G$38</c:f>
              <c:numCache>
                <c:formatCode>General</c:formatCode>
                <c:ptCount val="37"/>
                <c:pt idx="0">
                  <c:v>8.6169333655415153E-2</c:v>
                </c:pt>
                <c:pt idx="1">
                  <c:v>5.7446222436943431E-2</c:v>
                </c:pt>
                <c:pt idx="2">
                  <c:v>5.7446222436943431E-2</c:v>
                </c:pt>
                <c:pt idx="3">
                  <c:v>0.13787093384866425</c:v>
                </c:pt>
                <c:pt idx="4">
                  <c:v>0.16659404506713596</c:v>
                </c:pt>
                <c:pt idx="5">
                  <c:v>0.22978488974777372</c:v>
                </c:pt>
                <c:pt idx="6">
                  <c:v>0.22978488974777372</c:v>
                </c:pt>
                <c:pt idx="7">
                  <c:v>0.25276337872255111</c:v>
                </c:pt>
                <c:pt idx="8">
                  <c:v>0.25276337872255111</c:v>
                </c:pt>
                <c:pt idx="9">
                  <c:v>0.23552951199146807</c:v>
                </c:pt>
                <c:pt idx="10">
                  <c:v>0.183827911798219</c:v>
                </c:pt>
                <c:pt idx="11">
                  <c:v>0.25850800096624543</c:v>
                </c:pt>
                <c:pt idx="12">
                  <c:v>0.20680640077299639</c:v>
                </c:pt>
                <c:pt idx="13">
                  <c:v>0.183827911798219</c:v>
                </c:pt>
                <c:pt idx="14">
                  <c:v>0.12638168936127556</c:v>
                </c:pt>
                <c:pt idx="15">
                  <c:v>0.25276337872255111</c:v>
                </c:pt>
                <c:pt idx="16">
                  <c:v>0.3791450680838267</c:v>
                </c:pt>
                <c:pt idx="17">
                  <c:v>0.55722835763835132</c:v>
                </c:pt>
                <c:pt idx="18">
                  <c:v>0.86169333655415159</c:v>
                </c:pt>
                <c:pt idx="19">
                  <c:v>0.97658578142803831</c:v>
                </c:pt>
                <c:pt idx="20">
                  <c:v>1.3442416050244763</c:v>
                </c:pt>
                <c:pt idx="21">
                  <c:v>2.0048731630493259</c:v>
                </c:pt>
                <c:pt idx="22">
                  <c:v>2.0048731630493259</c:v>
                </c:pt>
                <c:pt idx="23">
                  <c:v>2.5448676539565942</c:v>
                </c:pt>
                <c:pt idx="24">
                  <c:v>2.0335962742677975</c:v>
                </c:pt>
                <c:pt idx="25">
                  <c:v>1.4361555609235859</c:v>
                </c:pt>
                <c:pt idx="26">
                  <c:v>1.3959432052177254</c:v>
                </c:pt>
                <c:pt idx="27">
                  <c:v>0.70084391373070987</c:v>
                </c:pt>
                <c:pt idx="28">
                  <c:v>0.42510204603338148</c:v>
                </c:pt>
                <c:pt idx="29">
                  <c:v>0.30446497891580021</c:v>
                </c:pt>
                <c:pt idx="30">
                  <c:v>0.33893271237796624</c:v>
                </c:pt>
                <c:pt idx="31">
                  <c:v>0.34467733462166061</c:v>
                </c:pt>
                <c:pt idx="32">
                  <c:v>0.41361280154599278</c:v>
                </c:pt>
                <c:pt idx="33">
                  <c:v>0.49978213520140785</c:v>
                </c:pt>
                <c:pt idx="34">
                  <c:v>0.3791450680838267</c:v>
                </c:pt>
                <c:pt idx="35">
                  <c:v>0.33318809013427192</c:v>
                </c:pt>
                <c:pt idx="36">
                  <c:v>0.591696091100517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J$2:$J$38</c:f>
              <c:numCache>
                <c:formatCode>General</c:formatCode>
                <c:ptCount val="37"/>
                <c:pt idx="0">
                  <c:v>0.2792550045526469</c:v>
                </c:pt>
                <c:pt idx="1">
                  <c:v>0.20812401282697271</c:v>
                </c:pt>
                <c:pt idx="2">
                  <c:v>0.1448964646263734</c:v>
                </c:pt>
                <c:pt idx="3">
                  <c:v>7.113099172567422E-2</c:v>
                </c:pt>
                <c:pt idx="4">
                  <c:v>5.795858585054936E-2</c:v>
                </c:pt>
                <c:pt idx="5">
                  <c:v>6.8496510550649245E-2</c:v>
                </c:pt>
                <c:pt idx="6">
                  <c:v>4.4786179975424507E-2</c:v>
                </c:pt>
                <c:pt idx="7">
                  <c:v>4.4786179975424507E-2</c:v>
                </c:pt>
                <c:pt idx="8">
                  <c:v>6.3227548200599309E-2</c:v>
                </c:pt>
                <c:pt idx="9">
                  <c:v>9.7475803475923925E-2</c:v>
                </c:pt>
                <c:pt idx="10">
                  <c:v>0.12118613405114867</c:v>
                </c:pt>
                <c:pt idx="11">
                  <c:v>0.16333783285154821</c:v>
                </c:pt>
                <c:pt idx="12">
                  <c:v>0.22129641870209754</c:v>
                </c:pt>
                <c:pt idx="13">
                  <c:v>0.32404118452807146</c:v>
                </c:pt>
                <c:pt idx="14">
                  <c:v>0.45839972445434496</c:v>
                </c:pt>
                <c:pt idx="15">
                  <c:v>0.64808236905614292</c:v>
                </c:pt>
                <c:pt idx="16">
                  <c:v>0.87464775010829032</c:v>
                </c:pt>
                <c:pt idx="17">
                  <c:v>1.4911163450641336</c:v>
                </c:pt>
                <c:pt idx="18">
                  <c:v>1.973226400093703</c:v>
                </c:pt>
                <c:pt idx="19">
                  <c:v>2.9453499536779173</c:v>
                </c:pt>
                <c:pt idx="20">
                  <c:v>5.1978313583242679</c:v>
                </c:pt>
                <c:pt idx="21">
                  <c:v>5.8643550956055854</c:v>
                </c:pt>
                <c:pt idx="22">
                  <c:v>6.9655682267660222</c:v>
                </c:pt>
                <c:pt idx="23">
                  <c:v>7.400257620645144</c:v>
                </c:pt>
                <c:pt idx="24">
                  <c:v>7.9192504121250629</c:v>
                </c:pt>
                <c:pt idx="25">
                  <c:v>7.4792920558958924</c:v>
                </c:pt>
                <c:pt idx="26">
                  <c:v>8.6042155176315553</c:v>
                </c:pt>
                <c:pt idx="27">
                  <c:v>5.6904793380539367</c:v>
                </c:pt>
                <c:pt idx="28">
                  <c:v>6.7548097327640244</c:v>
                </c:pt>
                <c:pt idx="29">
                  <c:v>4.0491975660133805</c:v>
                </c:pt>
                <c:pt idx="30">
                  <c:v>3.4696117075078865</c:v>
                </c:pt>
                <c:pt idx="31">
                  <c:v>3.7172529379602337</c:v>
                </c:pt>
                <c:pt idx="32">
                  <c:v>4.0307561977882056</c:v>
                </c:pt>
                <c:pt idx="33">
                  <c:v>4.4680800728423504</c:v>
                </c:pt>
                <c:pt idx="34">
                  <c:v>3.9543562437124811</c:v>
                </c:pt>
                <c:pt idx="35">
                  <c:v>3.2483152888057893</c:v>
                </c:pt>
                <c:pt idx="36">
                  <c:v>2.35522617047232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B$2:$B$38</c:f>
              <c:numCache>
                <c:formatCode>General</c:formatCode>
                <c:ptCount val="37"/>
                <c:pt idx="0">
                  <c:v>0.10111150756808399</c:v>
                </c:pt>
                <c:pt idx="1">
                  <c:v>2.2469223904018665E-2</c:v>
                </c:pt>
                <c:pt idx="2">
                  <c:v>4.4938447808037331E-2</c:v>
                </c:pt>
                <c:pt idx="3">
                  <c:v>5.6173059760046662E-2</c:v>
                </c:pt>
                <c:pt idx="4">
                  <c:v>4.4938447808037331E-2</c:v>
                </c:pt>
                <c:pt idx="5">
                  <c:v>0.10111150756808399</c:v>
                </c:pt>
                <c:pt idx="6">
                  <c:v>8.9876895616074662E-2</c:v>
                </c:pt>
                <c:pt idx="7">
                  <c:v>7.8642283664065324E-2</c:v>
                </c:pt>
                <c:pt idx="8">
                  <c:v>0.30333452270425199</c:v>
                </c:pt>
                <c:pt idx="9">
                  <c:v>0.41568064222434531</c:v>
                </c:pt>
                <c:pt idx="10">
                  <c:v>0.42691525417635462</c:v>
                </c:pt>
                <c:pt idx="11">
                  <c:v>0.71901516492859729</c:v>
                </c:pt>
                <c:pt idx="12">
                  <c:v>0.75271900078462528</c:v>
                </c:pt>
                <c:pt idx="13">
                  <c:v>0.62913826931252259</c:v>
                </c:pt>
                <c:pt idx="14">
                  <c:v>0.68531132907256931</c:v>
                </c:pt>
                <c:pt idx="15">
                  <c:v>0.86506512030471872</c:v>
                </c:pt>
                <c:pt idx="16">
                  <c:v>0.82012667249668136</c:v>
                </c:pt>
                <c:pt idx="17">
                  <c:v>1.0223496876328493</c:v>
                </c:pt>
                <c:pt idx="18">
                  <c:v>1.6739571808493905</c:v>
                </c:pt>
                <c:pt idx="19">
                  <c:v>2.9771721672824731</c:v>
                </c:pt>
                <c:pt idx="20">
                  <c:v>3.4377912573148559</c:v>
                </c:pt>
                <c:pt idx="21">
                  <c:v>4.38149866128364</c:v>
                </c:pt>
                <c:pt idx="22">
                  <c:v>4.246683317859528</c:v>
                </c:pt>
                <c:pt idx="23">
                  <c:v>3.4040874214588279</c:v>
                </c:pt>
                <c:pt idx="24">
                  <c:v>2.3929723457779879</c:v>
                </c:pt>
                <c:pt idx="25">
                  <c:v>1.2245727027690172</c:v>
                </c:pt>
                <c:pt idx="26">
                  <c:v>1.1009919712969145</c:v>
                </c:pt>
                <c:pt idx="27">
                  <c:v>0.75271900078462528</c:v>
                </c:pt>
                <c:pt idx="28">
                  <c:v>0.67407671712055994</c:v>
                </c:pt>
                <c:pt idx="29">
                  <c:v>0.70778055297658804</c:v>
                </c:pt>
                <c:pt idx="30">
                  <c:v>1.0335842995848585</c:v>
                </c:pt>
                <c:pt idx="31">
                  <c:v>1.2919803744810732</c:v>
                </c:pt>
                <c:pt idx="32">
                  <c:v>1.6851917928014</c:v>
                </c:pt>
                <c:pt idx="33">
                  <c:v>1.8312417481775212</c:v>
                </c:pt>
                <c:pt idx="34">
                  <c:v>2.0784032111217265</c:v>
                </c:pt>
                <c:pt idx="35">
                  <c:v>2.123341658929764</c:v>
                </c:pt>
                <c:pt idx="36">
                  <c:v>1.2582765386250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L$2:$L$38</c:f>
              <c:numCache>
                <c:formatCode>0.00000</c:formatCode>
                <c:ptCount val="37"/>
                <c:pt idx="0" formatCode="General">
                  <c:v>7.3288623608500969E-2</c:v>
                </c:pt>
                <c:pt idx="1">
                  <c:v>0.14657724721700194</c:v>
                </c:pt>
                <c:pt idx="2" formatCode="General">
                  <c:v>0.10993293541275144</c:v>
                </c:pt>
                <c:pt idx="3" formatCode="General">
                  <c:v>0.1282550913148767</c:v>
                </c:pt>
                <c:pt idx="4" formatCode="General">
                  <c:v>0.10993293541275144</c:v>
                </c:pt>
                <c:pt idx="5" formatCode="General">
                  <c:v>1.8322155902125242E-2</c:v>
                </c:pt>
                <c:pt idx="6" formatCode="General">
                  <c:v>5.496646770637572E-2</c:v>
                </c:pt>
                <c:pt idx="7" formatCode="General">
                  <c:v>5.496646770637572E-2</c:v>
                </c:pt>
                <c:pt idx="8" formatCode="General">
                  <c:v>1.8322155902125242E-2</c:v>
                </c:pt>
                <c:pt idx="9" formatCode="General">
                  <c:v>5.496646770637572E-2</c:v>
                </c:pt>
                <c:pt idx="10" formatCode="General">
                  <c:v>0.16489940311912718</c:v>
                </c:pt>
                <c:pt idx="11" formatCode="General">
                  <c:v>0.23818802672762815</c:v>
                </c:pt>
                <c:pt idx="12" formatCode="General">
                  <c:v>0.42140958574888054</c:v>
                </c:pt>
                <c:pt idx="13" formatCode="General">
                  <c:v>1.4657724721700194</c:v>
                </c:pt>
                <c:pt idx="14" formatCode="General">
                  <c:v>1.0810071982253893</c:v>
                </c:pt>
                <c:pt idx="15" formatCode="General">
                  <c:v>2.1803365523529039</c:v>
                </c:pt>
                <c:pt idx="16" formatCode="General">
                  <c:v>1.1542958218338903</c:v>
                </c:pt>
                <c:pt idx="17" formatCode="General">
                  <c:v>2.345235955472031</c:v>
                </c:pt>
                <c:pt idx="18" formatCode="General">
                  <c:v>4.1041629220760543</c:v>
                </c:pt>
                <c:pt idx="19" formatCode="General">
                  <c:v>6.0279892917992042</c:v>
                </c:pt>
                <c:pt idx="20" formatCode="General">
                  <c:v>5.8814120445822029</c:v>
                </c:pt>
                <c:pt idx="21" formatCode="General">
                  <c:v>7.7319497906968531</c:v>
                </c:pt>
                <c:pt idx="22" formatCode="General">
                  <c:v>10.242085149288009</c:v>
                </c:pt>
                <c:pt idx="23" formatCode="General">
                  <c:v>9.4359102895944993</c:v>
                </c:pt>
                <c:pt idx="24" formatCode="General">
                  <c:v>11.964367804087782</c:v>
                </c:pt>
                <c:pt idx="25" formatCode="General">
                  <c:v>6.9074527751012162</c:v>
                </c:pt>
                <c:pt idx="26" formatCode="General">
                  <c:v>5.4050359911269457</c:v>
                </c:pt>
                <c:pt idx="27" formatCode="General">
                  <c:v>4.5622168196291852</c:v>
                </c:pt>
                <c:pt idx="28" formatCode="General">
                  <c:v>6.6509425924714627</c:v>
                </c:pt>
                <c:pt idx="29" formatCode="General">
                  <c:v>5.9180563563864537</c:v>
                </c:pt>
                <c:pt idx="30" formatCode="General">
                  <c:v>2.8399341648294123</c:v>
                </c:pt>
                <c:pt idx="31" formatCode="General">
                  <c:v>2.6200682940039095</c:v>
                </c:pt>
                <c:pt idx="32" formatCode="General">
                  <c:v>2.4185245790805316</c:v>
                </c:pt>
                <c:pt idx="33" formatCode="General">
                  <c:v>2.6933569176124106</c:v>
                </c:pt>
                <c:pt idx="34" formatCode="General">
                  <c:v>4.2690623251951809</c:v>
                </c:pt>
                <c:pt idx="35" formatCode="General">
                  <c:v>4.0125521425654282</c:v>
                </c:pt>
                <c:pt idx="36" formatCode="General">
                  <c:v>4.50725035192280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8</c:f>
              <c:numCache>
                <c:formatCode>General</c:formatCode>
                <c:ptCount val="37"/>
                <c:pt idx="0">
                  <c:v>0.18169290206537081</c:v>
                </c:pt>
                <c:pt idx="1">
                  <c:v>0.1880310265560233</c:v>
                </c:pt>
                <c:pt idx="2">
                  <c:v>0.34225872249523343</c:v>
                </c:pt>
                <c:pt idx="3">
                  <c:v>0.79860368582221131</c:v>
                </c:pt>
                <c:pt idx="4">
                  <c:v>1.172553030770707</c:v>
                </c:pt>
                <c:pt idx="5">
                  <c:v>1.4598813410136191</c:v>
                </c:pt>
                <c:pt idx="6">
                  <c:v>1.6796029900229048</c:v>
                </c:pt>
                <c:pt idx="7">
                  <c:v>1.5021355042846356</c:v>
                </c:pt>
                <c:pt idx="8">
                  <c:v>1.3310061430370188</c:v>
                </c:pt>
                <c:pt idx="9">
                  <c:v>1.1345242838267922</c:v>
                </c:pt>
                <c:pt idx="10">
                  <c:v>0.88733742869134591</c:v>
                </c:pt>
                <c:pt idx="11">
                  <c:v>0.74156056540633908</c:v>
                </c:pt>
                <c:pt idx="12">
                  <c:v>0.49648641843444352</c:v>
                </c:pt>
                <c:pt idx="13">
                  <c:v>0.38451288576624992</c:v>
                </c:pt>
                <c:pt idx="14">
                  <c:v>0.30422997555131859</c:v>
                </c:pt>
                <c:pt idx="15">
                  <c:v>0.27042664493450541</c:v>
                </c:pt>
                <c:pt idx="16">
                  <c:v>0.26197581228030214</c:v>
                </c:pt>
                <c:pt idx="17">
                  <c:v>0.22183435717283648</c:v>
                </c:pt>
                <c:pt idx="18">
                  <c:v>0.21127081635508235</c:v>
                </c:pt>
                <c:pt idx="19">
                  <c:v>0.35070955514943669</c:v>
                </c:pt>
                <c:pt idx="20">
                  <c:v>0.32535705718682684</c:v>
                </c:pt>
                <c:pt idx="21">
                  <c:v>0.38028746943914826</c:v>
                </c:pt>
                <c:pt idx="22">
                  <c:v>0.5725439123222732</c:v>
                </c:pt>
                <c:pt idx="23">
                  <c:v>0.70141911029887338</c:v>
                </c:pt>
                <c:pt idx="24">
                  <c:v>0.98874742054178533</c:v>
                </c:pt>
                <c:pt idx="25">
                  <c:v>1.1577640736258512</c:v>
                </c:pt>
                <c:pt idx="26">
                  <c:v>1.4260780103968058</c:v>
                </c:pt>
                <c:pt idx="27">
                  <c:v>1.9035500553592919</c:v>
                </c:pt>
                <c:pt idx="28">
                  <c:v>2.594405624840411</c:v>
                </c:pt>
                <c:pt idx="29">
                  <c:v>3.0253980902047792</c:v>
                </c:pt>
                <c:pt idx="30">
                  <c:v>3.365544104536462</c:v>
                </c:pt>
                <c:pt idx="31">
                  <c:v>3.287373902485081</c:v>
                </c:pt>
                <c:pt idx="32">
                  <c:v>2.7063791575086049</c:v>
                </c:pt>
                <c:pt idx="33">
                  <c:v>1.8253798533079113</c:v>
                </c:pt>
                <c:pt idx="34">
                  <c:v>1.2486105246585368</c:v>
                </c:pt>
                <c:pt idx="35">
                  <c:v>0.91268992665395565</c:v>
                </c:pt>
                <c:pt idx="36">
                  <c:v>0.4415560061821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B9DB-4435-AD02-84089FF3FB66}"/>
              </c:ext>
            </c:extLst>
          </c:dPt>
          <c:cat>
            <c:strRef>
              <c:f>List1!$A$2:$A$38</c:f>
              <c:strCache>
                <c:ptCount val="37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</c:strCache>
            </c:strRef>
          </c:cat>
          <c:val>
            <c:numRef>
              <c:f>List1!$H$2:$H$38</c:f>
              <c:numCache>
                <c:formatCode>General</c:formatCode>
                <c:ptCount val="37"/>
                <c:pt idx="0">
                  <c:v>0.24831081426067519</c:v>
                </c:pt>
                <c:pt idx="1">
                  <c:v>0.37760875304729896</c:v>
                </c:pt>
                <c:pt idx="2">
                  <c:v>0.52306893418225076</c:v>
                </c:pt>
                <c:pt idx="3">
                  <c:v>0.73464737946945324</c:v>
                </c:pt>
                <c:pt idx="4">
                  <c:v>0.893331213434855</c:v>
                </c:pt>
                <c:pt idx="5">
                  <c:v>0.89039262391697738</c:v>
                </c:pt>
                <c:pt idx="6">
                  <c:v>0.95063370903347244</c:v>
                </c:pt>
                <c:pt idx="7">
                  <c:v>1.0960938901684243</c:v>
                </c:pt>
                <c:pt idx="8">
                  <c:v>1.2180453551603534</c:v>
                </c:pt>
                <c:pt idx="9">
                  <c:v>1.335588935875466</c:v>
                </c:pt>
                <c:pt idx="10">
                  <c:v>1.5104350121891958</c:v>
                </c:pt>
                <c:pt idx="11">
                  <c:v>1.4487246323137617</c:v>
                </c:pt>
                <c:pt idx="12">
                  <c:v>1.3150188092503212</c:v>
                </c:pt>
                <c:pt idx="13">
                  <c:v>1.1710279228743086</c:v>
                </c:pt>
                <c:pt idx="14">
                  <c:v>1.148988501490225</c:v>
                </c:pt>
                <c:pt idx="15">
                  <c:v>1.337058230634405</c:v>
                </c:pt>
                <c:pt idx="16">
                  <c:v>1.4972113593587457</c:v>
                </c:pt>
                <c:pt idx="17">
                  <c:v>1.7322985207889707</c:v>
                </c:pt>
                <c:pt idx="18">
                  <c:v>1.6867503832618647</c:v>
                </c:pt>
                <c:pt idx="19">
                  <c:v>1.4766412327336012</c:v>
                </c:pt>
                <c:pt idx="20">
                  <c:v>1.3914221367151445</c:v>
                </c:pt>
                <c:pt idx="21">
                  <c:v>1.2797557350357875</c:v>
                </c:pt>
                <c:pt idx="22">
                  <c:v>1.2283304184729258</c:v>
                </c:pt>
                <c:pt idx="23">
                  <c:v>1.1960059337762698</c:v>
                </c:pt>
                <c:pt idx="24">
                  <c:v>1.1519270910081025</c:v>
                </c:pt>
                <c:pt idx="25">
                  <c:v>1.2062909970888422</c:v>
                </c:pt>
                <c:pt idx="27">
                  <c:v>2.3640952671327007</c:v>
                </c:pt>
                <c:pt idx="28">
                  <c:v>2.8166380528858839</c:v>
                </c:pt>
                <c:pt idx="29">
                  <c:v>2.7152567145190991</c:v>
                </c:pt>
                <c:pt idx="30">
                  <c:v>1.7837238373518325</c:v>
                </c:pt>
                <c:pt idx="31">
                  <c:v>2.1657404746759479</c:v>
                </c:pt>
                <c:pt idx="32">
                  <c:v>1.8909823547543727</c:v>
                </c:pt>
                <c:pt idx="33">
                  <c:v>1.4340316847243728</c:v>
                </c:pt>
                <c:pt idx="34">
                  <c:v>1.1460499119723471</c:v>
                </c:pt>
                <c:pt idx="35">
                  <c:v>1.1548656805259805</c:v>
                </c:pt>
                <c:pt idx="36">
                  <c:v>1.3693827153310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1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004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486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15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979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1677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4540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6222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5820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8983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0022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286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0032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34142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278952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026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02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042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087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7507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963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3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7950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5" r:id="rId9"/>
    <p:sldLayoutId id="214748366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32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chart" Target="../charts/chart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chart" Target="../charts/chart7.xml"/><Relationship Id="rId4" Type="http://schemas.openxmlformats.org/officeDocument/2006/relationships/tags" Target="../tags/tag42.xml"/><Relationship Id="rId9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4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chart" Target="../charts/chart8.xml"/><Relationship Id="rId4" Type="http://schemas.openxmlformats.org/officeDocument/2006/relationships/tags" Target="../tags/tag60.xml"/><Relationship Id="rId9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10" Type="http://schemas.openxmlformats.org/officeDocument/2006/relationships/chart" Target="../charts/chart9.xml"/><Relationship Id="rId4" Type="http://schemas.openxmlformats.org/officeDocument/2006/relationships/tags" Target="../tags/tag67.xml"/><Relationship Id="rId9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chart" Target="../charts/chart10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chart" Target="../charts/chart1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84.xml"/><Relationship Id="rId7" Type="http://schemas.openxmlformats.org/officeDocument/2006/relationships/notesSlide" Target="../notesSlides/notesSlide18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chart" Target="../charts/chart13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9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chart" Target="../charts/chart14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0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chart" Target="../charts/chart2.xml"/><Relationship Id="rId4" Type="http://schemas.openxmlformats.org/officeDocument/2006/relationships/tags" Target="../tags/tag9.xml"/><Relationship Id="rId9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chart" Target="../charts/chart3.xml"/><Relationship Id="rId4" Type="http://schemas.openxmlformats.org/officeDocument/2006/relationships/tags" Target="../tags/tag16.xml"/><Relationship Id="rId9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22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800" dirty="0">
                <a:latin typeface="+mj-lt"/>
              </a:rPr>
              <a:t>Hodnocení pandemie COVID-19 </a:t>
            </a:r>
            <a:br>
              <a:rPr lang="cs-CZ" sz="4800" dirty="0">
                <a:latin typeface="+mj-lt"/>
              </a:rPr>
            </a:br>
            <a:r>
              <a:rPr lang="cs-CZ" sz="48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240535" y="3766261"/>
            <a:ext cx="9553575" cy="1964740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šíření epidemie s časovými trendy </a:t>
            </a:r>
          </a:p>
        </p:txBody>
      </p:sp>
    </p:spTree>
    <p:extLst>
      <p:ext uri="{BB962C8B-B14F-4D97-AF65-F5344CB8AC3E}">
        <p14:creationId xmlns:p14="http://schemas.microsoft.com/office/powerpoint/2010/main" val="3338103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7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14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720455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53272" y="1310313"/>
            <a:ext cx="3156144" cy="43708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8.2. 202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13.3. 2022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Chorvatska nejsou dostupné údaje o počtu provedených testů za 8. týden roku 2022. </a:t>
            </a:r>
            <a:r>
              <a:rPr lang="cs-CZ" sz="1100" dirty="0">
                <a:solidFill>
                  <a:schemeClr val="tx1"/>
                </a:solidFill>
              </a:rPr>
              <a:t>Data pro tento týden byla převzata z reportu k 3.3.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14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4353750" y="5904636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ED9F66F-9613-4871-BB84-97F861A900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4367264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7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7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804186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472183"/>
            <a:ext cx="3156144" cy="4370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9. týdnu (</a:t>
            </a:r>
            <a:r>
              <a:rPr lang="cs-CZ" sz="1600" dirty="0">
                <a:solidFill>
                  <a:srgbClr val="000000"/>
                </a:solidFill>
              </a:rPr>
              <a:t>28.2.—6.3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) a 10. </a:t>
            </a:r>
            <a:r>
              <a:rPr lang="cs-CZ" sz="1600" dirty="0">
                <a:solidFill>
                  <a:srgbClr val="000000"/>
                </a:solidFill>
              </a:rPr>
              <a:t>týdnu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ku 2022 </a:t>
            </a:r>
          </a:p>
          <a:p>
            <a:pPr lvl="0" algn="ctr">
              <a:defRPr/>
            </a:pPr>
            <a:r>
              <a:rPr lang="cs-CZ" sz="1600" dirty="0">
                <a:solidFill>
                  <a:srgbClr val="000000"/>
                </a:solidFill>
              </a:rPr>
              <a:t>(7.3.—13.3.)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  <a:p>
            <a:pPr lvl="0" algn="ctr"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Chorvatska nejsou dostupné údaje o počtu provedených testů za 8. týden roku 2022. </a:t>
            </a:r>
            <a:r>
              <a:rPr lang="cs-CZ" sz="1100" dirty="0">
                <a:solidFill>
                  <a:schemeClr val="tx1"/>
                </a:solidFill>
              </a:rPr>
              <a:t>Data pro tento týden byla převzata z reportu k 3.3.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7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4757925" y="5895862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D1E692-519E-4DAB-B393-73DA8A84FB26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39569092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7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8560602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364132" y="398222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CD61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383336" y="455216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98000" y="473472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9966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73649" y="425982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13.3. 2022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Mortalita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Data o počtech úmrtí hlášená v reálném čase mají velmi omezenou hodnotu. Státy je budou muset doplnit, validovat, určit příčinu úmrtí …… </a:t>
            </a:r>
          </a:p>
        </p:txBody>
      </p:sp>
    </p:spTree>
    <p:extLst>
      <p:ext uri="{BB962C8B-B14F-4D97-AF65-F5344CB8AC3E}">
        <p14:creationId xmlns:p14="http://schemas.microsoft.com/office/powerpoint/2010/main" val="10455691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7.3. 2022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0472233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b="1" dirty="0"/>
                        <a:t>Země</a:t>
                      </a:r>
                      <a:endParaRPr lang="cs-CZ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7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14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19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46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7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6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47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4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9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9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3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9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8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8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3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55975297"/>
              </p:ext>
            </p:extLst>
          </p:nvPr>
        </p:nvGraphicFramePr>
        <p:xfrm>
          <a:off x="6250375" y="757705"/>
          <a:ext cx="5400000" cy="53290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2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14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848665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8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3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3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3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4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9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9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6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25165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916256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kumulativního počtu na 100tis. </a:t>
            </a:r>
          </a:p>
        </p:txBody>
      </p:sp>
      <p:sp>
        <p:nvSpPr>
          <p:cNvPr id="7" name="TextovéPole 6"/>
          <p:cNvSpPr txBox="1"/>
          <p:nvPr>
            <p:custDataLst>
              <p:tags r:id="rId4"/>
            </p:custDataLst>
          </p:nvPr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9240302-8EF9-44FF-BE9E-83ECEB3AB4ED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6524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5842172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9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9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47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8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19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8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7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46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9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2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6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790567"/>
              </p:ext>
            </p:extLst>
          </p:nvPr>
        </p:nvGraphicFramePr>
        <p:xfrm>
          <a:off x="6250375" y="757703"/>
          <a:ext cx="5400000" cy="53290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8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3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7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8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3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9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4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9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30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3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6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33057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3131000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7denních počtů na 100tis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2199946-02DE-42BF-806B-1FDEE8F5FB8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7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7B1BD28-10EF-4703-B505-F31E255AC1EA}"/>
              </a:ext>
            </a:extLst>
          </p:cNvPr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ADB589D1-4971-40F7-BC58-E4364F4933B9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332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0443710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9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9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19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8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47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7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8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46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5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9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6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3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7983004"/>
              </p:ext>
            </p:extLst>
          </p:nvPr>
        </p:nvGraphicFramePr>
        <p:xfrm>
          <a:off x="6250375" y="757703"/>
          <a:ext cx="5400000" cy="53290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3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3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4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8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7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3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9691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9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9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1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6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897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3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6322813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14denních počtů na 100tis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05B2A00-318E-49DC-8B3F-6321E7CB57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7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FABB83D-5FFB-44C0-BA3C-FCF7D4C844B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3F6892A-7689-4C32-BFEC-21E96E9890B3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4589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877096"/>
              </p:ext>
            </p:extLst>
          </p:nvPr>
        </p:nvGraphicFramePr>
        <p:xfrm>
          <a:off x="1058400" y="1003026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54066" y="438883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881" y="457695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2692" y="476796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60976" y="494614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14denního</a:t>
            </a:r>
            <a:r>
              <a:rPr lang="cs-CZ" sz="2000" dirty="0">
                <a:latin typeface="+mj-lt"/>
              </a:rPr>
              <a:t> kumulativního počtu úmrtí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úmrt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0. týdne roku 2022 (7.3.—13.3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u této země pro 52. a 1.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2050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189544"/>
              </p:ext>
            </p:extLst>
          </p:nvPr>
        </p:nvGraphicFramePr>
        <p:xfrm>
          <a:off x="1058400" y="978087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50293" y="439371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49903" y="472124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6920" y="489496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51595" y="506745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7denního</a:t>
            </a:r>
            <a:r>
              <a:rPr lang="cs-CZ" sz="2000" dirty="0">
                <a:latin typeface="+mj-lt"/>
              </a:rPr>
              <a:t> kumulativního počtu úmrt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59226529-17EF-4D97-A0A2-10EBEC6C052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0. týdne roku 2022 (7.3.—13.3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u této země pro tento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4058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měr kumulativního počtu úmrtí ke kumulativnímu počtu potvrzených případů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075122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19773" y="2244436"/>
            <a:ext cx="3156144" cy="356315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měr kumulativního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úmrtí ke </a:t>
            </a:r>
            <a:r>
              <a:rPr lang="cs-CZ" sz="1600" b="1" u="sng" dirty="0">
                <a:solidFill>
                  <a:schemeClr val="tx1"/>
                </a:solidFill>
              </a:rPr>
              <a:t>kumulativnímu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od začátku epidemie do 13.3. 2022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(„naivní“ case fatality </a:t>
            </a:r>
            <a:r>
              <a:rPr lang="cs-CZ" sz="1600" b="1" dirty="0" err="1">
                <a:solidFill>
                  <a:schemeClr val="tx1"/>
                </a:solidFill>
              </a:rPr>
              <a:t>rate</a:t>
            </a:r>
            <a:r>
              <a:rPr lang="cs-CZ" sz="1600" b="1" dirty="0">
                <a:solidFill>
                  <a:schemeClr val="tx1"/>
                </a:solidFill>
              </a:rPr>
              <a:t>, </a:t>
            </a:r>
            <a:br>
              <a:rPr lang="cs-CZ" sz="1600" b="1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v případě rychlého růstu počtu případů je nezbytná opatrná interpretace).</a:t>
            </a:r>
          </a:p>
          <a:p>
            <a:pPr algn="ctr"/>
            <a:endParaRPr lang="cs-CZ" sz="1600" b="1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a počtu úmrtí za 52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měr úmrtí a potvrzených případů onemocnění v zemích EU, EHP a Velké Británii </a:t>
            </a: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442126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321102" y="1050408"/>
            <a:ext cx="6516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rozdílné testovací strategie. Státy také rozdílně v čase aktualizují publikovaná data. Vedle možných rozdílů </a:t>
            </a:r>
            <a:br>
              <a:rPr lang="cs-CZ" sz="1400" i="1" dirty="0"/>
            </a:br>
            <a:r>
              <a:rPr lang="cs-CZ" sz="1400" i="1" dirty="0"/>
              <a:t>v dostupnosti a úspěšnosti léčebné péče může ukazatel svědčit zejména </a:t>
            </a:r>
          </a:p>
          <a:p>
            <a:pPr algn="r"/>
            <a:r>
              <a:rPr lang="cs-CZ" sz="1400" i="1" dirty="0"/>
              <a:t>o relativním „</a:t>
            </a:r>
            <a:r>
              <a:rPr lang="cs-CZ" sz="1400" i="1" dirty="0" err="1"/>
              <a:t>podhlášení</a:t>
            </a:r>
            <a:r>
              <a:rPr lang="cs-CZ" sz="1400" i="1" dirty="0"/>
              <a:t>“ počtu případů nebo naopak zemřelých.</a:t>
            </a:r>
          </a:p>
        </p:txBody>
      </p:sp>
    </p:spTree>
    <p:extLst>
      <p:ext uri="{BB962C8B-B14F-4D97-AF65-F5344CB8AC3E}">
        <p14:creationId xmlns:p14="http://schemas.microsoft.com/office/powerpoint/2010/main" val="25237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9973"/>
              </p:ext>
            </p:extLst>
          </p:nvPr>
        </p:nvGraphicFramePr>
        <p:xfrm>
          <a:off x="2570678" y="1043782"/>
          <a:ext cx="6684884" cy="55339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71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kratka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Země</a:t>
                      </a:r>
                      <a:endParaRPr lang="cs-CZ" sz="14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dirty="0"/>
                        <a:t>Zkratka</a:t>
                      </a:r>
                      <a:endParaRPr lang="cs-CZ" sz="14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elg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ď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ulh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G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lt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M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Česká republik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Z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ěmec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Dá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izozem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Esto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o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ranc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rtuga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horvat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akou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A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umu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R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land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Řecko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EL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tál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e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Kyp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Y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chtenštej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paně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tv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véd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otyš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V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elká Britán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U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ucembu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eznam zkratek zemí EU, EHP a Velké Británie</a:t>
            </a:r>
          </a:p>
        </p:txBody>
      </p:sp>
    </p:spTree>
    <p:extLst>
      <p:ext uri="{BB962C8B-B14F-4D97-AF65-F5344CB8AC3E}">
        <p14:creationId xmlns:p14="http://schemas.microsoft.com/office/powerpoint/2010/main" val="1513624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Očkování v 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12911364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5607739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7.3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59783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3. 2022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2856767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9347576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17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5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3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3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2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1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1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0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9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9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9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8591497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17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5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4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3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2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0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8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5,1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3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3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9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6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0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0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5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8.3. 2022</a:t>
            </a:r>
          </a:p>
        </p:txBody>
      </p:sp>
    </p:spTree>
    <p:extLst>
      <p:ext uri="{BB962C8B-B14F-4D97-AF65-F5344CB8AC3E}">
        <p14:creationId xmlns:p14="http://schemas.microsoft.com/office/powerpoint/2010/main" val="22290917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7987957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7.3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61474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3. 2022</a:t>
            </a:r>
          </a:p>
        </p:txBody>
      </p:sp>
      <p:sp>
        <p:nvSpPr>
          <p:cNvPr id="15" name="Obdélník 14"/>
          <p:cNvSpPr/>
          <p:nvPr>
            <p:custDataLst>
              <p:tags r:id="rId5"/>
            </p:custDataLst>
          </p:nvPr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15333923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5078507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17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2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1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0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9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7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7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3369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5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3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6239477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>
                          <a:latin typeface="+mj-lt"/>
                        </a:rPr>
                        <a:t>Pořad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17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3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2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1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1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9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7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4,2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3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0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6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5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0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5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862735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8.3. 2022</a:t>
            </a:r>
          </a:p>
        </p:txBody>
      </p:sp>
    </p:spTree>
    <p:extLst>
      <p:ext uri="{BB962C8B-B14F-4D97-AF65-F5344CB8AC3E}">
        <p14:creationId xmlns:p14="http://schemas.microsoft.com/office/powerpoint/2010/main" val="34344621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1016882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 vykázaným očkováním posilující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 17.3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729007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3. 2022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3042258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156726"/>
              </p:ext>
            </p:extLst>
          </p:nvPr>
        </p:nvGraphicFramePr>
        <p:xfrm>
          <a:off x="775744" y="840581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17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7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5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8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7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4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4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3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2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9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6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4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2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2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5847139"/>
              </p:ext>
            </p:extLst>
          </p:nvPr>
        </p:nvGraphicFramePr>
        <p:xfrm>
          <a:off x="6058960" y="857516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8767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17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2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1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0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6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6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6,0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0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8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2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8.3. 2022</a:t>
            </a:r>
          </a:p>
        </p:txBody>
      </p:sp>
    </p:spTree>
    <p:extLst>
      <p:ext uri="{BB962C8B-B14F-4D97-AF65-F5344CB8AC3E}">
        <p14:creationId xmlns:p14="http://schemas.microsoft.com/office/powerpoint/2010/main" val="12319774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3. 2022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 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očkováním posilující 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17.3. 2022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95369346"/>
              </p:ext>
            </p:extLst>
          </p:nvPr>
        </p:nvGraphicFramePr>
        <p:xfrm>
          <a:off x="532014" y="1233288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00106" y="6193805"/>
            <a:ext cx="73900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posilující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 fontScale="90000"/>
          </a:bodyPr>
          <a:lstStyle/>
          <a:p>
            <a:r>
              <a:rPr lang="cs-CZ" sz="2000" dirty="0">
                <a:latin typeface="+mj-lt"/>
              </a:rPr>
              <a:t>Srovnání podílů osob s vykázaným úplným očkováním a osob s vykázaným očkováním posilující dávkou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>
            <p:custDataLst>
              <p:tags r:id="rId4"/>
            </p:custDataLst>
          </p:nvPr>
        </p:nvSpPr>
        <p:spPr>
          <a:xfrm>
            <a:off x="5104019" y="690389"/>
            <a:ext cx="70757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6385146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nově diagnostikovaných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2626401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37201" y="2313138"/>
            <a:ext cx="3200092" cy="35881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14denní kumulativní počet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00 tisíc osob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k 27.2. 2022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a 13.3. 2022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denní kumulativní počet případů onemocnění na 100 tisíc osob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83532" y="5986979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3. 2022</a:t>
            </a:r>
          </a:p>
        </p:txBody>
      </p:sp>
      <p:graphicFrame>
        <p:nvGraphicFramePr>
          <p:cNvPr id="9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51751020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2665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otvrzených případů onemocnění v zemích EU, EHP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a Velké Británii (14denní kumulativní počet)</a:t>
            </a:r>
          </a:p>
        </p:txBody>
      </p:sp>
      <p:sp>
        <p:nvSpPr>
          <p:cNvPr id="12" name="Obdélník 11"/>
          <p:cNvSpPr/>
          <p:nvPr>
            <p:custDataLst>
              <p:tags r:id="rId4"/>
            </p:custDataLst>
          </p:nvPr>
        </p:nvSpPr>
        <p:spPr>
          <a:xfrm rot="16200000">
            <a:off x="5607523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534656" y="1574473"/>
            <a:ext cx="4283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620365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5863775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potvrzených případů onemocněn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0. týdne roku 2022 (7.3.—13.3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2. týden roku 2021, a proto nebyla u této země pro 52. a 1. týden analýza provedena.</a:t>
            </a:r>
            <a:endParaRPr lang="cs-CZ" sz="1100" b="1" u="sng" dirty="0">
              <a:solidFill>
                <a:schemeClr val="tx1"/>
              </a:solidFill>
            </a:endParaRP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70846" y="429108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3669" y="532429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93822" y="512578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60570" y="494387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2525131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případů onemocnění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7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41514"/>
            <a:ext cx="2904485" cy="4381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0. týdne roku 2022 (7.3.—13.3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2. týden roku 2021, a proto nebyla u této země pro tento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36609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19BC0D0-959D-4E8E-A71C-05A83CEEEA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577" y="449875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9EBFAB1-1614-4ECE-A214-7AF399DB035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8730" y="535755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B1AA9DE3-6FB8-4639-B002-0E7FCE4D52A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77196" y="517565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B9D7D5B-AF10-44B6-8594-DAA0A2D6545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52146" y="499574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</p:spTree>
    <p:extLst>
      <p:ext uri="{BB962C8B-B14F-4D97-AF65-F5344CB8AC3E}">
        <p14:creationId xmlns:p14="http://schemas.microsoft.com/office/powerpoint/2010/main" val="19710835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3. 2022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8551" y="2485506"/>
            <a:ext cx="2986781" cy="35004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% změnu týdenního kumulativního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  <a:r>
              <a:rPr lang="cs-CZ" sz="1600" b="1" u="sng" dirty="0">
                <a:solidFill>
                  <a:schemeClr val="tx1"/>
                </a:solidFill>
              </a:rPr>
              <a:t>počtu</a:t>
            </a:r>
            <a:r>
              <a:rPr lang="cs-CZ" sz="1600" dirty="0">
                <a:solidFill>
                  <a:schemeClr val="tx1"/>
                </a:solidFill>
              </a:rPr>
              <a:t> potvrzených případů onemocnění v 8. týdnu vs. 7. týdnu a 10. týdnu vs. 9. týdnu roku 2022.</a:t>
            </a: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21428887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Obdélník 9"/>
          <p:cNvSpPr/>
          <p:nvPr>
            <p:custDataLst>
              <p:tags r:id="rId4"/>
            </p:custDataLst>
          </p:nvPr>
        </p:nvSpPr>
        <p:spPr>
          <a:xfrm rot="16200000">
            <a:off x="4441930" y="588260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660504" y="964406"/>
            <a:ext cx="33536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>
                <a:solidFill>
                  <a:srgbClr val="C00000"/>
                </a:solidFill>
              </a:rPr>
              <a:t>Relativní změna v kumulativním počtu nově diagnostikovaných případů ukazuje na dynamiku šíření nákazy v čase. </a:t>
            </a:r>
          </a:p>
        </p:txBody>
      </p:sp>
    </p:spTree>
    <p:extLst>
      <p:ext uri="{BB962C8B-B14F-4D97-AF65-F5344CB8AC3E}">
        <p14:creationId xmlns:p14="http://schemas.microsoft.com/office/powerpoint/2010/main" val="2037178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testů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35551120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08310"/>
              </p:ext>
            </p:extLst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7.2. 2022—13.3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33 6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29 9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99 1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8 00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9 47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2 52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4 41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1 40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 69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7 73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7 47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2 15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9 79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8 873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7 35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7.2. 2022 do 13.3. 2022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89997035"/>
              </p:ext>
            </p:extLst>
          </p:nvPr>
        </p:nvGraphicFramePr>
        <p:xfrm>
          <a:off x="6058960" y="857516"/>
          <a:ext cx="5013663" cy="53180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7.2. 2022—13.3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7 00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rvat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5 8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 7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 2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 30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 46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 2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 9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 15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 9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 70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 08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35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 99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 3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 4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925239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A9A6F4A-628E-4A32-81CF-FE19A683E8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92583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3. 2022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1C1E252-7505-49CF-963F-853CC8FAC6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5743" y="6110928"/>
            <a:ext cx="50136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* </a:t>
            </a:r>
            <a:r>
              <a:rPr lang="cs-CZ" sz="1100" dirty="0">
                <a:solidFill>
                  <a:srgbClr val="000000"/>
                </a:solidFill>
              </a:rPr>
              <a:t>U Chorvatska nejsou dostupné údaje o počtu provedených testů za 8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2. Data pro tento týden byla převzata z reportu k 3.3.2022.</a:t>
            </a:r>
          </a:p>
        </p:txBody>
      </p:sp>
    </p:spTree>
    <p:extLst>
      <p:ext uri="{BB962C8B-B14F-4D97-AF65-F5344CB8AC3E}">
        <p14:creationId xmlns:p14="http://schemas.microsoft.com/office/powerpoint/2010/main" val="3491496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22460</TotalTime>
  <Words>3318</Words>
  <Application>Microsoft Office PowerPoint</Application>
  <PresentationFormat>Širokoúhlá obrazovka</PresentationFormat>
  <Paragraphs>1064</Paragraphs>
  <Slides>27</Slides>
  <Notes>22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7</vt:i4>
      </vt:variant>
    </vt:vector>
  </HeadingPairs>
  <TitlesOfParts>
    <vt:vector size="31" baseType="lpstr">
      <vt:lpstr>Arial</vt:lpstr>
      <vt:lpstr>Arial (Základní text)</vt:lpstr>
      <vt:lpstr>Calibri</vt:lpstr>
      <vt:lpstr>Motiv Office</vt:lpstr>
      <vt:lpstr>Hodnocení pandemie COVID-19  v mezinárodním srovnání </vt:lpstr>
      <vt:lpstr>Seznam zkratek zemí EU, EHP a Velké Británie</vt:lpstr>
      <vt:lpstr>Hodnocení pandemie COVID-19  v mezinárodním srovnání </vt:lpstr>
      <vt:lpstr>Počet potvrzených případů onemocnění v zemích EU, EHP  a Velké Británii (14denní kumulativní počet)</vt:lpstr>
      <vt:lpstr>Vývoj 14denního kumulativního počtu potvrzených případů onemocnění ve vybraných evropských zemích</vt:lpstr>
      <vt:lpstr>Vývoj 7denního kumulativního počtu potvrzených případů onemocnění ve vybraných evropských zemích</vt:lpstr>
      <vt:lpstr>Procentuální změna týdenního kumulativního počtu potvrzených případů</vt:lpstr>
      <vt:lpstr>Hodnocení pandemie COVID-19  v mezinárodním srovnání </vt:lpstr>
      <vt:lpstr>Počet provedených testů v zemích EU a EHP  od 7.2. 2022 do 13.3. 2022</vt:lpstr>
      <vt:lpstr>14denní podíl potvrzených případů z počtu provedených testů v zemích EU a EHP</vt:lpstr>
      <vt:lpstr>7denní podíl potvrzených případů z počtu provedených testů v zemích EU a EHP</vt:lpstr>
      <vt:lpstr>Vývoj podílu potvrzených případů z počtu provedených testů ve vybraných evropských zemích</vt:lpstr>
      <vt:lpstr>Hodnocení pandemie COVID-19  v mezinárodním srovnání </vt:lpstr>
      <vt:lpstr>Úmrtí – srovnání zemí řazeno dle kumulativního počtu na 100tis. </vt:lpstr>
      <vt:lpstr>Úmrtí – srovnání zemí řazeno dle 7denních počtů na 100tis.</vt:lpstr>
      <vt:lpstr>Úmrtí – srovnání zemí řazeno dle 14denních počtů na 100tis</vt:lpstr>
      <vt:lpstr>Vývoj 14denního kumulativního počtu úmrtí  ve vybraných evropských zemích</vt:lpstr>
      <vt:lpstr>Vývoj 7denního kumulativního počtu úmrtí ve vybraných evropských zemích</vt:lpstr>
      <vt:lpstr>Poměr úmrtí a potvrzených případů onemocnění v zemích EU, EHP a Velké Británii od začátku epidemie</vt:lpstr>
      <vt:lpstr>Hodnocení pandemie COVID-19  v mezinárodním srovnání </vt:lpstr>
      <vt:lpstr>Podíl osob s vykázaným očkováním 1. dávkou v zemích EU a EHP</vt:lpstr>
      <vt:lpstr>Podíl osob s vykázaným očkováním 1. dávkou v zemích EU a EHP</vt:lpstr>
      <vt:lpstr>Podíl osob s vykázaným úplným očkováním v zemích EU a EHP</vt:lpstr>
      <vt:lpstr>Podíl osob s vykázaným úplným očkováním v zemích EU a EHP</vt:lpstr>
      <vt:lpstr>Podíl osob s vykázaným očkováním posilující dávkou v zemích EU a EHP</vt:lpstr>
      <vt:lpstr>Podíl osob s vykázaným očkováním posilující dávkou v zemích EU a EHP</vt:lpstr>
      <vt:lpstr>Srovnání podílů osob s vykázaným úplným očkováním a osob s vykázaným očkováním posilující dávkou v zemích EU a EH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voj epidemie COVID-19 v ČR  Souhrn hlavních statistických ukazatelů dle regionů</dc:title>
  <dc:creator>Nováková Tereza Mgr.</dc:creator>
  <cp:lastModifiedBy>Dušek Ladislav prof. RNDr. Ph.D.</cp:lastModifiedBy>
  <cp:revision>1303</cp:revision>
  <dcterms:created xsi:type="dcterms:W3CDTF">2020-11-14T13:18:43Z</dcterms:created>
  <dcterms:modified xsi:type="dcterms:W3CDTF">2022-03-20T09:12:42Z</dcterms:modified>
</cp:coreProperties>
</file>